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2"/>
  </p:notesMasterIdLst>
  <p:sldIdLst>
    <p:sldId id="2147481189" r:id="rId5"/>
    <p:sldId id="2147481208" r:id="rId6"/>
    <p:sldId id="2147481209" r:id="rId7"/>
    <p:sldId id="2147481210" r:id="rId8"/>
    <p:sldId id="2147481219" r:id="rId9"/>
    <p:sldId id="2147481220" r:id="rId10"/>
    <p:sldId id="2147481221" r:id="rId11"/>
  </p:sldIdLst>
  <p:sldSz cx="12192000" cy="6858000"/>
  <p:notesSz cx="6797675" cy="9872663"/>
  <p:custDataLst>
    <p:tags r:id="rId13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267D357A-736E-4419-8F31-7020650603D7}">
          <p14:sldIdLst>
            <p14:sldId id="2147481189"/>
            <p14:sldId id="2147481208"/>
            <p14:sldId id="2147481209"/>
            <p14:sldId id="2147481210"/>
            <p14:sldId id="2147481219"/>
            <p14:sldId id="2147481220"/>
            <p14:sldId id="214748122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28CEB01-E8FF-EA7F-A37C-5A7B9BF3D68A}" name="Sebastian Byskov Jensen" initials="SBJ" userId="S::sbjensen@Nilfisk.com::3627f06f-3224-4433-a481-d48ba3e130a2" providerId="AD"/>
  <p188:author id="{6E784515-E970-77BD-BCC8-B132237FEA39}" name="Lise Lundgreen" initials="LL" userId="S::llundgreen@Nilfisk.com::850d87c9-91fe-43b0-8ad0-c09bca2e5553" providerId="AD"/>
  <p188:author id="{1D70E918-029A-92A4-F84C-64BBCF744EF1}" name="Christian Kiaer Sonderbaek" initials="CS" userId="S::csonderbaek@nilfisk.com::2d2fd8bd-6db5-47df-a5a5-cf18a335939c" providerId="AD"/>
  <p188:author id="{A0C6731C-A1A9-DDDC-4457-40A12B4C4798}" name="Lois Cannon" initials="LC" userId="S::lcannon@nilfisk.com::4261f7f7-c9ce-4d1d-b12c-1dfe6cd05a67" providerId="AD"/>
  <p188:author id="{088A5324-7FDF-F5FB-E31A-3AA7FC60DD56}" name="Henriette Glaesel" initials="HG" userId="S::hglaesel@Nilfisk.com::84ac067e-1279-4b8c-bcaa-3fece5a027ef" providerId="AD"/>
  <p188:author id="{CCE1D22A-4564-FEA0-066D-AE80ED435C8C}" name="Line Skovbjerg" initials="LS" userId="S::lskovbjerg@Nilfisk.com::bd8d82be-b2a3-4297-892b-01dc5ddd9e5a" providerId="AD"/>
  <p188:author id="{03F1206D-F013-149E-C148-D86DA472F13F}" name="Line Skovbjerg" initials="LS" userId="S::lskovbjerg@nilfisk.com::bd8d82be-b2a3-4297-892b-01dc5ddd9e5a" providerId="AD"/>
  <p188:author id="{56045679-34C5-7D29-8C63-60E8645692A4}" name="Sebastian Byskov Jensen" initials="SJ" userId="S::sbjensen@nilfisk.com::3627f06f-3224-4433-a481-d48ba3e130a2" providerId="AD"/>
  <p188:author id="{853A087C-D504-1171-AF19-FE7C1311146B}" name="Thomas Brender" initials="" userId="S::tbrender@Nilfisk.com::fba71798-28ad-45a0-af2c-b16f100a9038" providerId="AD"/>
  <p188:author id="{0B661285-AFA2-60A4-87CF-A4DDB27E710E}" name="Louise Heine Cassens" initials="" userId="S::v-lhcassens@Nilfisk.com::2c858d57-9319-4d86-a5e0-291a2ac31824" providerId="AD"/>
  <p188:author id="{89F15C86-4C82-4B9E-FE45-1C38F05A4AF5}" name="Winnie Korse" initials="" userId="S::v-wkorse@Nilfisk.com::ac79d79f-fe32-4cea-ac40-a1d4240ff9d8" providerId="AD"/>
  <p188:author id="{7D561C8B-5502-E47E-B821-D0E4AEE9A68E}" name="Karen Nicolson" initials="KN" userId="S::KNicolson@Nilfisk.com::43dc85cf-bc96-4aca-a7d4-30c388b3e07c" providerId="AD"/>
  <p188:author id="{65EEE8A8-13E4-8363-9535-1B817DA4A9D6}" name="Martin Troelsgaard" initials="MT" userId="S::mtroelsgaard@Nilfisk.com::2a911867-e2ef-40c2-84ad-05853a3d71de" providerId="AD"/>
  <p188:author id="{D1B02AB4-C282-F730-56D2-F90E13AD1C98}" name="Winnie Korse" initials="WK" userId="S::v-wkorse@nilfisk.com::ac79d79f-fe32-4cea-ac40-a1d4240ff9d8" providerId="AD"/>
  <p188:author id="{613FEDC2-B21F-69D9-F6D7-71FC7431C363}" name="Christian Kiaer Sonderbaek" initials="CS" userId="S::csonderbaek@Nilfisk.com::2d2fd8bd-6db5-47df-a5a5-cf18a335939c" providerId="AD"/>
  <p188:author id="{1AC1A9DD-7A9E-FFEC-B72D-AECB85A546CD}" name="Abiola Adedeji" initials="" userId="S::aadedeji@Nilfisk.com::bd650f4c-6fc3-450f-8346-f5d03c75b5be" providerId="AD"/>
  <p188:author id="{F03ACFE6-8000-530D-164B-E4065873E991}" name="Abiola Adedeji" initials="AA" userId="S::aadedeji@nilfisk.com::bd650f4c-6fc3-450f-8346-f5d03c75b5be" providerId="AD"/>
  <p188:author id="{02AE50F3-3041-0F4C-19D5-3847CB06A822}" name="Lise Lundgreen" initials="LL" userId="S::llundgreen@nilfisk.com::850d87c9-91fe-43b0-8ad0-c09bca2e555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313F"/>
    <a:srgbClr val="4B4F54"/>
    <a:srgbClr val="8997A4"/>
    <a:srgbClr val="7C878E"/>
    <a:srgbClr val="000000"/>
    <a:srgbClr val="979797"/>
    <a:srgbClr val="606A70"/>
    <a:srgbClr val="D4CFBE"/>
    <a:srgbClr val="82827E"/>
    <a:srgbClr val="DDC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140" d="100"/>
          <a:sy n="140" d="100"/>
        </p:scale>
        <p:origin x="-246" y="-154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09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10/2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5/2024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308" t="9357" r="9482" b="37471"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10/25/2024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r="8696"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5009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5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5/2024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5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365870413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10/2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  <p:sldLayoutId id="2147483739" r:id="rId19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v="urn:schemas-microsoft-com:vml" xmlns:a16="http://schemas.microsoft.com/office/drawing/2014/main" xmlns:p15="http://schemas.microsoft.com/office/powerpoint/2012/main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2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1.emf"/><Relationship Id="rId5" Type="http://schemas.openxmlformats.org/officeDocument/2006/relationships/hyperlink" Target="https://nilfisk-my.sharepoint.com/:w:/p/v-wkorse/EfOwSfJbtl5FovdCmK9s5M0B-EVjN1Yar9ODhHbENgJ6Zw?e=HLFgxd" TargetMode="External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3.png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11.emf"/><Relationship Id="rId5" Type="http://schemas.openxmlformats.org/officeDocument/2006/relationships/hyperlink" Target="https://nilfisk-my.sharepoint.com/:w:/p/v-wkorse/EfOwSfJbtl5FovdCmK9s5M0B-EVjN1Yar9ODhHbENgJ6Zw?e=HLFgxd" TargetMode="Externa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4.png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11.emf"/><Relationship Id="rId5" Type="http://schemas.openxmlformats.org/officeDocument/2006/relationships/hyperlink" Target="https://nilfisk-my.sharepoint.com/:w:/p/v-wkorse/EfOwSfJbtl5FovdCmK9s5M0B-EVjN1Yar9ODhHbENgJ6Zw?e=HLFgxd" TargetMode="Externa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5.png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6" Type="http://schemas.openxmlformats.org/officeDocument/2006/relationships/image" Target="../media/image11.emf"/><Relationship Id="rId5" Type="http://schemas.openxmlformats.org/officeDocument/2006/relationships/hyperlink" Target="https://nilfisk-my.sharepoint.com/:w:/p/v-wkorse/EfOwSfJbtl5FovdCmK9s5M0B-EVjN1Yar9ODhHbENgJ6Zw?e=HLFgxd" TargetMode="Externa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6.png"/><Relationship Id="rId2" Type="http://schemas.openxmlformats.org/officeDocument/2006/relationships/video" Target="../media/media5.mp4"/><Relationship Id="rId1" Type="http://schemas.microsoft.com/office/2007/relationships/media" Target="../media/media5.mp4"/><Relationship Id="rId6" Type="http://schemas.openxmlformats.org/officeDocument/2006/relationships/image" Target="../media/image11.emf"/><Relationship Id="rId5" Type="http://schemas.openxmlformats.org/officeDocument/2006/relationships/hyperlink" Target="https://nilfisk-my.sharepoint.com/:w:/p/v-wkorse/EfOwSfJbtl5FovdCmK9s5M0B-EVjN1Yar9ODhHbENgJ6Zw?e=HLFgxd" TargetMode="Externa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7.png"/><Relationship Id="rId2" Type="http://schemas.openxmlformats.org/officeDocument/2006/relationships/video" Target="../media/media6.mp4"/><Relationship Id="rId1" Type="http://schemas.microsoft.com/office/2007/relationships/media" Target="../media/media6.mp4"/><Relationship Id="rId6" Type="http://schemas.openxmlformats.org/officeDocument/2006/relationships/image" Target="../media/image11.emf"/><Relationship Id="rId5" Type="http://schemas.openxmlformats.org/officeDocument/2006/relationships/hyperlink" Target="https://nilfisk-my.sharepoint.com/:w:/p/v-wkorse/EfOwSfJbtl5FovdCmK9s5M0B-EVjN1Yar9ODhHbENgJ6Zw?e=HLFgxd" TargetMode="Externa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BF93AB-BF1F-5373-1B2C-5818E495EFE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hu-HU" dirty="0" err="1"/>
              <a:t>Social</a:t>
            </a:r>
            <a:r>
              <a:rPr lang="hu-HU" dirty="0"/>
              <a:t> </a:t>
            </a:r>
            <a:r>
              <a:rPr lang="hu-HU" dirty="0" err="1"/>
              <a:t>media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19CCAC-EBB9-C1EC-1D86-A96EE6A788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>
                <a:ea typeface="Roboto Light"/>
                <a:cs typeface="Roboto Light"/>
              </a:rPr>
              <a:t> 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71B8BC3-07C7-EFB8-1CD3-621D2E79DDD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t>INFORMAȚII CONFIDENȚIALE ALE COMPANIEI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D42E67-BCF1-3A74-0BD1-8501ECD4B7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3152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36041155-4225-9003-6DBB-EEEEC812592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t>INFORMAȚII CONFIDENȚIALE ALE COMPANIEI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91EA273C-1A90-AE2E-3529-12C521E3D1D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94066FE-D8E7-FC5F-71C1-DE64562370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sz="800"/>
              <a:t>Dimensiune: 1200x1200</a:t>
            </a:r>
            <a:endParaRPr lang="en-DK" sz="80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47DD55E-4301-0465-1739-BEAC8126C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SoMe #1</a:t>
            </a:r>
            <a:endParaRPr lang="en-DK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DB52855-13B7-2FDF-B902-3402C180E5A0}"/>
              </a:ext>
            </a:extLst>
          </p:cNvPr>
          <p:cNvSpPr txBox="1"/>
          <p:nvPr/>
        </p:nvSpPr>
        <p:spPr>
          <a:xfrm>
            <a:off x="6961366" y="2631657"/>
            <a:ext cx="3287865" cy="149592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</a:pPr>
            <a:r>
              <a:rPr sz="1000" dirty="0">
                <a:effectLst/>
                <a:latin typeface="Roboto"/>
                <a:cs typeface="Roboto"/>
              </a:rPr>
              <a:t>🔫</a:t>
            </a:r>
            <a:r>
              <a:rPr sz="1000" dirty="0" err="1">
                <a:latin typeface="Roboto"/>
                <a:cs typeface="Roboto"/>
              </a:rPr>
              <a:t>Puneți-vă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centura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pentru</a:t>
            </a:r>
            <a:r>
              <a:rPr sz="1000" dirty="0">
                <a:latin typeface="Roboto"/>
                <a:cs typeface="Roboto"/>
              </a:rPr>
              <a:t> o </a:t>
            </a:r>
            <a:r>
              <a:rPr sz="1000" dirty="0" err="1">
                <a:latin typeface="Roboto"/>
                <a:cs typeface="Roboto"/>
              </a:rPr>
              <a:t>experiență</a:t>
            </a:r>
            <a:r>
              <a:rPr sz="1000" dirty="0">
                <a:latin typeface="Roboto"/>
                <a:cs typeface="Roboto"/>
              </a:rPr>
              <a:t> cu </a:t>
            </a:r>
            <a:r>
              <a:rPr sz="1000" dirty="0" err="1">
                <a:latin typeface="Roboto"/>
                <a:cs typeface="Roboto"/>
              </a:rPr>
              <a:t>adevărat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dificilă</a:t>
            </a:r>
            <a:r>
              <a:rPr sz="1000" dirty="0">
                <a:latin typeface="Roboto"/>
                <a:cs typeface="Roboto"/>
              </a:rPr>
              <a:t> de </a:t>
            </a:r>
            <a:r>
              <a:rPr sz="1000" dirty="0" err="1">
                <a:latin typeface="Roboto"/>
                <a:cs typeface="Roboto"/>
              </a:rPr>
              <a:t>îndepărtare</a:t>
            </a:r>
            <a:r>
              <a:rPr sz="1000" dirty="0">
                <a:latin typeface="Roboto"/>
                <a:cs typeface="Roboto"/>
              </a:rPr>
              <a:t> a </a:t>
            </a:r>
            <a:r>
              <a:rPr sz="1000" dirty="0" err="1">
                <a:latin typeface="Roboto"/>
                <a:cs typeface="Roboto"/>
              </a:rPr>
              <a:t>murdăriei</a:t>
            </a:r>
            <a:r>
              <a:rPr sz="1000" dirty="0">
                <a:latin typeface="Roboto"/>
                <a:cs typeface="Roboto"/>
              </a:rPr>
              <a:t>! </a:t>
            </a:r>
            <a:r>
              <a:rPr sz="1000" dirty="0" err="1">
                <a:latin typeface="Roboto"/>
                <a:cs typeface="Roboto"/>
              </a:rPr>
              <a:t>Echipați-vă</a:t>
            </a:r>
            <a:r>
              <a:rPr sz="1000" dirty="0">
                <a:latin typeface="Roboto"/>
                <a:cs typeface="Roboto"/>
              </a:rPr>
              <a:t> cu </a:t>
            </a:r>
            <a:r>
              <a:rPr sz="1000" dirty="0" err="1">
                <a:latin typeface="Roboto"/>
                <a:cs typeface="Roboto"/>
              </a:rPr>
              <a:t>noua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noastră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gamă</a:t>
            </a:r>
            <a:r>
              <a:rPr sz="1000" dirty="0">
                <a:latin typeface="Roboto"/>
                <a:cs typeface="Roboto"/>
              </a:rPr>
              <a:t> MC1C-MC2C de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aparate</a:t>
            </a:r>
            <a:r>
              <a:rPr sz="1000" dirty="0">
                <a:effectLst/>
                <a:latin typeface="Roboto"/>
                <a:cs typeface="Roboto"/>
              </a:rPr>
              <a:t> de </a:t>
            </a:r>
            <a:r>
              <a:rPr sz="1000" dirty="0" err="1">
                <a:effectLst/>
                <a:latin typeface="Roboto"/>
                <a:cs typeface="Roboto"/>
              </a:rPr>
              <a:t>curățat</a:t>
            </a:r>
            <a:r>
              <a:rPr sz="1000" dirty="0">
                <a:effectLst/>
                <a:latin typeface="Roboto"/>
                <a:cs typeface="Roboto"/>
              </a:rPr>
              <a:t> cu </a:t>
            </a:r>
            <a:r>
              <a:rPr sz="1000" dirty="0" err="1">
                <a:effectLst/>
                <a:latin typeface="Roboto"/>
                <a:cs typeface="Roboto"/>
              </a:rPr>
              <a:t>presiune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înaltă</a:t>
            </a:r>
            <a:r>
              <a:rPr sz="1000" dirty="0">
                <a:effectLst/>
                <a:latin typeface="Roboto"/>
                <a:cs typeface="Roboto"/>
              </a:rPr>
              <a:t> cu </a:t>
            </a:r>
            <a:r>
              <a:rPr sz="1000" dirty="0" err="1">
                <a:effectLst/>
                <a:latin typeface="Roboto"/>
                <a:cs typeface="Roboto"/>
              </a:rPr>
              <a:t>apă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rece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și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eliminați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murdăria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și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murdăria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persistentă</a:t>
            </a:r>
            <a:r>
              <a:rPr sz="1000" dirty="0">
                <a:effectLst/>
                <a:latin typeface="Roboto"/>
                <a:cs typeface="Roboto"/>
              </a:rPr>
              <a:t> cu o </a:t>
            </a:r>
            <a:r>
              <a:rPr sz="1000" dirty="0" err="1">
                <a:effectLst/>
                <a:latin typeface="Roboto"/>
                <a:cs typeface="Roboto"/>
              </a:rPr>
              <a:t>singură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acțiune</a:t>
            </a:r>
            <a:r>
              <a:rPr sz="1000" dirty="0">
                <a:effectLst/>
                <a:latin typeface="Roboto"/>
                <a:cs typeface="Roboto"/>
              </a:rPr>
              <a:t>! </a:t>
            </a:r>
            <a:r>
              <a:rPr sz="1000" dirty="0" err="1">
                <a:effectLst/>
                <a:latin typeface="Roboto"/>
                <a:cs typeface="Roboto"/>
              </a:rPr>
              <a:t>Printre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caracteristicile</a:t>
            </a:r>
            <a:r>
              <a:rPr sz="1000" dirty="0">
                <a:effectLst/>
                <a:latin typeface="Roboto"/>
                <a:cs typeface="Roboto"/>
              </a:rPr>
              <a:t> sale cool se </a:t>
            </a:r>
            <a:r>
              <a:rPr sz="1000" dirty="0" err="1">
                <a:effectLst/>
                <a:latin typeface="Roboto"/>
                <a:cs typeface="Roboto"/>
              </a:rPr>
              <a:t>numără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armătura</a:t>
            </a:r>
            <a:r>
              <a:rPr sz="1000" dirty="0">
                <a:effectLst/>
                <a:latin typeface="Roboto"/>
                <a:cs typeface="Roboto"/>
              </a:rPr>
              <a:t> de </a:t>
            </a:r>
            <a:r>
              <a:rPr sz="1000" dirty="0" err="1">
                <a:effectLst/>
                <a:latin typeface="Roboto"/>
                <a:cs typeface="Roboto"/>
              </a:rPr>
              <a:t>oțel</a:t>
            </a:r>
            <a:r>
              <a:rPr sz="1000" dirty="0">
                <a:effectLst/>
                <a:latin typeface="Roboto"/>
                <a:cs typeface="Roboto"/>
              </a:rPr>
              <a:t> pe </a:t>
            </a:r>
            <a:r>
              <a:rPr sz="1000" dirty="0" err="1">
                <a:effectLst/>
                <a:latin typeface="Roboto"/>
                <a:cs typeface="Roboto"/>
              </a:rPr>
              <a:t>întreaga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lungime</a:t>
            </a:r>
            <a:r>
              <a:rPr sz="1000" dirty="0">
                <a:effectLst/>
                <a:latin typeface="Roboto"/>
                <a:cs typeface="Roboto"/>
              </a:rPr>
              <a:t> a </a:t>
            </a:r>
            <a:r>
              <a:rPr sz="1000" dirty="0" err="1">
                <a:effectLst/>
                <a:latin typeface="Roboto"/>
                <a:cs typeface="Roboto"/>
              </a:rPr>
              <a:t>furtunului</a:t>
            </a:r>
            <a:r>
              <a:rPr sz="1000" dirty="0">
                <a:effectLst/>
                <a:latin typeface="Roboto"/>
                <a:cs typeface="Roboto"/>
              </a:rPr>
              <a:t>, de </a:t>
            </a:r>
            <a:r>
              <a:rPr sz="1000" dirty="0">
                <a:latin typeface="Roboto"/>
                <a:cs typeface="Roboto"/>
              </a:rPr>
              <a:t>15 </a:t>
            </a:r>
            <a:r>
              <a:rPr sz="1000" dirty="0" err="1">
                <a:latin typeface="Roboto"/>
                <a:cs typeface="Roboto"/>
              </a:rPr>
              <a:t>metri</a:t>
            </a:r>
            <a:r>
              <a:rPr sz="1000" dirty="0">
                <a:latin typeface="Roboto"/>
                <a:cs typeface="Roboto"/>
              </a:rPr>
              <a:t>,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>
                <a:latin typeface="Roboto"/>
                <a:cs typeface="Roboto"/>
              </a:rPr>
              <a:t>care </a:t>
            </a:r>
            <a:r>
              <a:rPr sz="1000" dirty="0" err="1">
                <a:latin typeface="Roboto"/>
                <a:cs typeface="Roboto"/>
              </a:rPr>
              <a:t>minimizează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încurcăturile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și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este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ușor</a:t>
            </a:r>
            <a:r>
              <a:rPr sz="1000" dirty="0">
                <a:effectLst/>
                <a:latin typeface="Roboto"/>
                <a:cs typeface="Roboto"/>
              </a:rPr>
              <a:t> de </a:t>
            </a:r>
            <a:r>
              <a:rPr sz="1000" dirty="0" err="1">
                <a:effectLst/>
                <a:latin typeface="Roboto"/>
                <a:cs typeface="Roboto"/>
              </a:rPr>
              <a:t>înfășurat</a:t>
            </a:r>
            <a:r>
              <a:rPr sz="1000" dirty="0">
                <a:effectLst/>
                <a:latin typeface="Roboto"/>
                <a:cs typeface="Roboto"/>
              </a:rPr>
              <a:t>.</a:t>
            </a:r>
            <a:endParaRPr lang="en-DK" sz="1000" kern="100" dirty="0">
              <a:effectLst/>
              <a:latin typeface="Roboto"/>
              <a:ea typeface="Roboto"/>
              <a:cs typeface="Roboto"/>
            </a:endParaRPr>
          </a:p>
        </p:txBody>
      </p:sp>
      <p:pic>
        <p:nvPicPr>
          <p:cNvPr id="10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D655E980-3006-11DB-02D4-4467A92461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24834" y="1562786"/>
            <a:ext cx="2639033" cy="4691615"/>
          </a:xfrm>
          <a:prstGeom prst="rect">
            <a:avLst/>
          </a:prstGeom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67086BFB-A0A3-A750-03B8-2810D1EA8FFB}"/>
              </a:ext>
            </a:extLst>
          </p:cNvPr>
          <p:cNvSpPr txBox="1"/>
          <p:nvPr/>
        </p:nvSpPr>
        <p:spPr>
          <a:xfrm>
            <a:off x="4628823" y="2481108"/>
            <a:ext cx="1727187" cy="73424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</a:pPr>
            <a:r>
              <a:rPr sz="600">
                <a:effectLst/>
                <a:latin typeface="Arial"/>
                <a:cs typeface="Arial"/>
              </a:rPr>
              <a:t>🔫</a:t>
            </a:r>
            <a:r>
              <a:rPr sz="600">
                <a:latin typeface="Arial"/>
                <a:cs typeface="Arial"/>
              </a:rPr>
              <a:t>Puneți-vă centura pentru o experiență cu adevărat dificilă de îndepărtare a murdăriei! Echipați-vă cu noua noastră gamă MC1C-MC2C de</a:t>
            </a:r>
            <a:r>
              <a:rPr sz="600">
                <a:effectLst/>
                <a:latin typeface="Arial"/>
                <a:cs typeface="Arial"/>
              </a:rPr>
              <a:t> aparate de curățat cu presiune înaltă cu apă rece și eliminați murdăria și murdăria persistentă cu o singură acțiune! Printre caracteristicile sale cool se numără armătura de oțel pe întreaga lungime a furtunului, de </a:t>
            </a:r>
            <a:r>
              <a:rPr sz="600">
                <a:latin typeface="Arial"/>
                <a:cs typeface="Arial"/>
              </a:rPr>
              <a:t>15 metri,</a:t>
            </a:r>
            <a:r>
              <a:rPr sz="600">
                <a:effectLst/>
                <a:latin typeface="Arial"/>
                <a:cs typeface="Arial"/>
              </a:rPr>
              <a:t> </a:t>
            </a:r>
            <a:r>
              <a:rPr sz="600">
                <a:latin typeface="Arial"/>
                <a:cs typeface="Arial"/>
              </a:rPr>
              <a:t>care minimizează încurcăturile și este ușor</a:t>
            </a:r>
            <a:r>
              <a:rPr sz="600">
                <a:effectLst/>
                <a:latin typeface="Arial"/>
                <a:cs typeface="Arial"/>
              </a:rPr>
              <a:t> de înfășurat.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F1E5BD08-B4A6-7940-99A6-F88263D8A341}"/>
              </a:ext>
            </a:extLst>
          </p:cNvPr>
          <p:cNvSpPr txBox="1"/>
          <p:nvPr/>
        </p:nvSpPr>
        <p:spPr>
          <a:xfrm>
            <a:off x="4628823" y="3234172"/>
            <a:ext cx="183775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sz="700" b="1">
                <a:solidFill>
                  <a:schemeClr val="accent3"/>
                </a:solidFill>
                <a:latin typeface="Arial"/>
                <a:cs typeface="Arial"/>
              </a:rPr>
              <a:t>Aflați mai mult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97A2725-3BE9-0CE6-9658-CD15699B8780}"/>
              </a:ext>
            </a:extLst>
          </p:cNvPr>
          <p:cNvSpPr txBox="1"/>
          <p:nvPr/>
        </p:nvSpPr>
        <p:spPr>
          <a:xfrm>
            <a:off x="560483" y="1277134"/>
            <a:ext cx="609683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sz="700" b="1">
                <a:hlinkClick r:id="rId5"/>
              </a:rPr>
              <a:t>Legătură către text</a:t>
            </a:r>
            <a:endParaRPr lang="en-DK" sz="700" b="1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13CE50F-6934-DF65-C84D-C44AF18BB31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1378" y="1295460"/>
            <a:ext cx="153888" cy="153888"/>
          </a:xfrm>
          <a:prstGeom prst="rect">
            <a:avLst/>
          </a:prstGeom>
        </p:spPr>
      </p:pic>
      <p:pic>
        <p:nvPicPr>
          <p:cNvPr id="6" name="Ro Media1">
            <a:hlinkClick r:id="" action="ppaction://media"/>
            <a:extLst>
              <a:ext uri="{FF2B5EF4-FFF2-40B4-BE49-F238E27FC236}">
                <a16:creationId xmlns:a16="http://schemas.microsoft.com/office/drawing/2014/main" id="{C84F0BB5-6B6C-B45D-7CB4-66BD45358FDC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4575243" y="3589522"/>
            <a:ext cx="1938213" cy="1938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2096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8027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B5C1E982-7414-BA9D-2F32-C5825E06BB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949" y="1362343"/>
            <a:ext cx="2639033" cy="4691615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36041155-4225-9003-6DBB-EEEEC812592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t>INFORMAȚII CONFIDENȚIALE ALE COMPANIEI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91EA273C-1A90-AE2E-3529-12C521E3D1D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94066FE-D8E7-FC5F-71C1-DE64562370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sz="800"/>
              <a:t>Dimensiune: 1200x1200</a:t>
            </a:r>
            <a:endParaRPr lang="en-DK" sz="80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47DD55E-4301-0465-1739-BEAC8126C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SoMe #2</a:t>
            </a:r>
            <a:endParaRPr lang="en-DK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05E2D9E-58DA-469C-6C24-0288BCF533DC}"/>
              </a:ext>
            </a:extLst>
          </p:cNvPr>
          <p:cNvSpPr txBox="1"/>
          <p:nvPr/>
        </p:nvSpPr>
        <p:spPr>
          <a:xfrm>
            <a:off x="6961366" y="2631657"/>
            <a:ext cx="3287865" cy="149592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</a:pPr>
            <a:r>
              <a:rPr sz="1000" dirty="0">
                <a:effectLst/>
                <a:latin typeface="Roboto"/>
                <a:cs typeface="Roboto"/>
              </a:rPr>
              <a:t>🏎️</a:t>
            </a:r>
            <a:r>
              <a:rPr sz="1000" dirty="0">
                <a:latin typeface="Roboto"/>
              </a:rPr>
              <a:t>Nu </a:t>
            </a:r>
            <a:r>
              <a:rPr sz="1000" dirty="0" err="1">
                <a:latin typeface="Roboto"/>
              </a:rPr>
              <a:t>schimba</a:t>
            </a:r>
            <a:r>
              <a:rPr sz="1000" dirty="0">
                <a:latin typeface="Roboto"/>
              </a:rPr>
              <a:t>, </a:t>
            </a:r>
            <a:r>
              <a:rPr sz="1000" dirty="0" err="1">
                <a:latin typeface="Roboto"/>
              </a:rPr>
              <a:t>pornește</a:t>
            </a:r>
            <a:r>
              <a:rPr sz="1000" dirty="0">
                <a:latin typeface="Roboto"/>
              </a:rPr>
              <a:t> la </a:t>
            </a:r>
            <a:r>
              <a:rPr sz="1000" dirty="0" err="1">
                <a:latin typeface="Roboto"/>
              </a:rPr>
              <a:t>lucru</a:t>
            </a:r>
            <a:r>
              <a:rPr sz="1000" dirty="0">
                <a:latin typeface="Roboto"/>
              </a:rPr>
              <a:t>! </a:t>
            </a:r>
            <a:r>
              <a:rPr sz="1000" dirty="0" err="1">
                <a:latin typeface="Roboto"/>
              </a:rPr>
              <a:t>Duza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unică</a:t>
            </a:r>
            <a:r>
              <a:rPr sz="1000" dirty="0">
                <a:latin typeface="Roboto"/>
              </a:rPr>
              <a:t> 4 </a:t>
            </a:r>
            <a:r>
              <a:rPr sz="1000" dirty="0" err="1">
                <a:latin typeface="Roboto"/>
              </a:rPr>
              <a:t>în</a:t>
            </a:r>
            <a:r>
              <a:rPr sz="1000" dirty="0">
                <a:latin typeface="Roboto"/>
              </a:rPr>
              <a:t> 1 se </a:t>
            </a:r>
            <a:r>
              <a:rPr sz="1000" dirty="0" err="1">
                <a:latin typeface="Roboto"/>
              </a:rPr>
              <a:t>adaptează</a:t>
            </a:r>
            <a:r>
              <a:rPr sz="1000" dirty="0">
                <a:latin typeface="Roboto"/>
              </a:rPr>
              <a:t> rapid </a:t>
            </a:r>
            <a:r>
              <a:rPr sz="1000" dirty="0" err="1">
                <a:latin typeface="Roboto"/>
              </a:rPr>
              <a:t>și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ușor</a:t>
            </a:r>
            <a:r>
              <a:rPr sz="1000" dirty="0">
                <a:latin typeface="Roboto"/>
              </a:rPr>
              <a:t> la </a:t>
            </a:r>
            <a:r>
              <a:rPr sz="1000" dirty="0" err="1">
                <a:latin typeface="Roboto"/>
              </a:rPr>
              <a:t>orice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sarcină</a:t>
            </a:r>
            <a:r>
              <a:rPr sz="1000" dirty="0">
                <a:latin typeface="Roboto"/>
              </a:rPr>
              <a:t>. </a:t>
            </a:r>
            <a:r>
              <a:rPr sz="1000" dirty="0" err="1">
                <a:latin typeface="Roboto"/>
              </a:rPr>
              <a:t>Noua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noastră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gamă</a:t>
            </a:r>
            <a:r>
              <a:rPr sz="1000" dirty="0">
                <a:latin typeface="Roboto"/>
              </a:rPr>
              <a:t> MC1C-MC2Cde </a:t>
            </a:r>
            <a:r>
              <a:rPr sz="1000" dirty="0" err="1">
                <a:latin typeface="Roboto"/>
              </a:rPr>
              <a:t>aparate</a:t>
            </a:r>
            <a:r>
              <a:rPr sz="1000" dirty="0">
                <a:latin typeface="Roboto"/>
              </a:rPr>
              <a:t> de </a:t>
            </a:r>
            <a:r>
              <a:rPr sz="1000" dirty="0" err="1">
                <a:latin typeface="Roboto"/>
              </a:rPr>
              <a:t>spălare</a:t>
            </a:r>
            <a:r>
              <a:rPr sz="1000" dirty="0">
                <a:latin typeface="Roboto"/>
              </a:rPr>
              <a:t> cu </a:t>
            </a:r>
            <a:r>
              <a:rPr sz="1000" dirty="0" err="1">
                <a:latin typeface="Roboto"/>
              </a:rPr>
              <a:t>înaltă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presiune</a:t>
            </a:r>
            <a:r>
              <a:rPr sz="1000" dirty="0">
                <a:latin typeface="Roboto"/>
              </a:rPr>
              <a:t> cu </a:t>
            </a:r>
            <a:r>
              <a:rPr sz="1000" dirty="0" err="1">
                <a:latin typeface="Roboto"/>
              </a:rPr>
              <a:t>apă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rece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oferă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mai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multă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putere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profesioniștilor</a:t>
            </a:r>
            <a:r>
              <a:rPr sz="1000" dirty="0">
                <a:latin typeface="Roboto"/>
              </a:rPr>
              <a:t>. </a:t>
            </a:r>
            <a:r>
              <a:rPr sz="1000" dirty="0" err="1">
                <a:latin typeface="Roboto"/>
              </a:rPr>
              <a:t>Bucurați-vă</a:t>
            </a:r>
            <a:r>
              <a:rPr sz="1000" dirty="0">
                <a:latin typeface="Roboto"/>
              </a:rPr>
              <a:t> de </a:t>
            </a:r>
            <a:r>
              <a:rPr sz="1000" dirty="0" err="1">
                <a:latin typeface="Roboto"/>
              </a:rPr>
              <a:t>pistolul</a:t>
            </a:r>
            <a:r>
              <a:rPr sz="1000" dirty="0">
                <a:latin typeface="Roboto"/>
              </a:rPr>
              <a:t> de </a:t>
            </a:r>
            <a:r>
              <a:rPr sz="1000" dirty="0" err="1">
                <a:latin typeface="Roboto"/>
              </a:rPr>
              <a:t>pulverizare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proiectat</a:t>
            </a:r>
            <a:r>
              <a:rPr sz="1000" dirty="0">
                <a:latin typeface="Roboto"/>
              </a:rPr>
              <a:t> ergonomic, care </a:t>
            </a:r>
            <a:r>
              <a:rPr sz="1000" dirty="0" err="1">
                <a:latin typeface="Roboto"/>
              </a:rPr>
              <a:t>permite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acestei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mașini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să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funcționeze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mai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eficient</a:t>
            </a:r>
            <a:r>
              <a:rPr sz="1000" dirty="0">
                <a:latin typeface="Roboto"/>
              </a:rPr>
              <a:t> la o </a:t>
            </a:r>
            <a:r>
              <a:rPr sz="1000" dirty="0" err="1">
                <a:latin typeface="Roboto"/>
              </a:rPr>
              <a:t>presiune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mai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micăși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să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reducă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riscul</a:t>
            </a:r>
            <a:r>
              <a:rPr sz="1000" dirty="0">
                <a:latin typeface="Roboto"/>
              </a:rPr>
              <a:t> de </a:t>
            </a:r>
            <a:r>
              <a:rPr sz="1000" dirty="0" err="1">
                <a:latin typeface="Roboto"/>
              </a:rPr>
              <a:t>suprasolicitare</a:t>
            </a:r>
            <a:r>
              <a:rPr sz="1000" dirty="0">
                <a:latin typeface="Roboto"/>
              </a:rPr>
              <a:t>. </a:t>
            </a:r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67086BFB-A0A3-A750-03B8-2810D1EA8FFB}"/>
              </a:ext>
            </a:extLst>
          </p:cNvPr>
          <p:cNvSpPr txBox="1"/>
          <p:nvPr/>
        </p:nvSpPr>
        <p:spPr>
          <a:xfrm>
            <a:off x="4633847" y="2481108"/>
            <a:ext cx="1727187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sz="800" dirty="0">
                <a:effectLst/>
                <a:latin typeface="Segoe UI Emoji"/>
                <a:cs typeface="Times New Roman"/>
              </a:rPr>
              <a:t>🏎️ </a:t>
            </a:r>
            <a:r>
              <a:rPr sz="600" dirty="0" err="1">
                <a:latin typeface="Arial"/>
                <a:cs typeface="Arial"/>
              </a:rPr>
              <a:t>Fără</a:t>
            </a:r>
            <a:r>
              <a:rPr sz="600" dirty="0">
                <a:latin typeface="Arial"/>
                <a:cs typeface="Arial"/>
              </a:rPr>
              <a:t> </a:t>
            </a:r>
            <a:r>
              <a:rPr sz="600" dirty="0" err="1">
                <a:latin typeface="Arial"/>
                <a:cs typeface="Arial"/>
              </a:rPr>
              <a:t>schimbări</a:t>
            </a:r>
            <a:r>
              <a:rPr sz="600" dirty="0">
                <a:latin typeface="Arial"/>
                <a:cs typeface="Arial"/>
              </a:rPr>
              <a:t>, </a:t>
            </a:r>
            <a:r>
              <a:rPr sz="600" dirty="0" err="1">
                <a:latin typeface="Arial"/>
                <a:cs typeface="Arial"/>
              </a:rPr>
              <a:t>începeți</a:t>
            </a:r>
            <a:r>
              <a:rPr sz="600" dirty="0">
                <a:latin typeface="Arial"/>
                <a:cs typeface="Arial"/>
              </a:rPr>
              <a:t> </a:t>
            </a:r>
            <a:r>
              <a:rPr sz="600" dirty="0" err="1">
                <a:latin typeface="Arial"/>
                <a:cs typeface="Arial"/>
              </a:rPr>
              <a:t>lucrul</a:t>
            </a:r>
            <a:r>
              <a:rPr sz="600" dirty="0">
                <a:latin typeface="Arial"/>
                <a:cs typeface="Arial"/>
              </a:rPr>
              <a:t>! </a:t>
            </a:r>
            <a:r>
              <a:rPr sz="600" dirty="0" err="1">
                <a:latin typeface="Arial"/>
                <a:cs typeface="Arial"/>
              </a:rPr>
              <a:t>Duza</a:t>
            </a:r>
            <a:r>
              <a:rPr sz="600" dirty="0">
                <a:latin typeface="Arial"/>
                <a:cs typeface="Arial"/>
              </a:rPr>
              <a:t> </a:t>
            </a:r>
            <a:r>
              <a:rPr sz="600" dirty="0" err="1">
                <a:latin typeface="Arial"/>
                <a:cs typeface="Arial"/>
              </a:rPr>
              <a:t>unică</a:t>
            </a:r>
            <a:r>
              <a:rPr sz="600" dirty="0">
                <a:latin typeface="Arial"/>
                <a:cs typeface="Arial"/>
              </a:rPr>
              <a:t> 4-în-1 se </a:t>
            </a:r>
            <a:r>
              <a:rPr sz="600" dirty="0" err="1">
                <a:latin typeface="Arial"/>
                <a:cs typeface="Arial"/>
              </a:rPr>
              <a:t>adaptează</a:t>
            </a:r>
            <a:r>
              <a:rPr sz="600" dirty="0">
                <a:latin typeface="Arial"/>
                <a:cs typeface="Arial"/>
              </a:rPr>
              <a:t> rapid </a:t>
            </a:r>
            <a:r>
              <a:rPr sz="600" dirty="0" err="1">
                <a:latin typeface="Arial"/>
                <a:cs typeface="Arial"/>
              </a:rPr>
              <a:t>și</a:t>
            </a:r>
            <a:r>
              <a:rPr sz="600" dirty="0">
                <a:latin typeface="Arial"/>
                <a:cs typeface="Arial"/>
              </a:rPr>
              <a:t> </a:t>
            </a:r>
            <a:r>
              <a:rPr sz="600" dirty="0" err="1">
                <a:latin typeface="Arial"/>
                <a:cs typeface="Arial"/>
              </a:rPr>
              <a:t>ușor</a:t>
            </a:r>
            <a:r>
              <a:rPr sz="600" dirty="0">
                <a:latin typeface="Arial"/>
                <a:cs typeface="Arial"/>
              </a:rPr>
              <a:t> la </a:t>
            </a:r>
            <a:r>
              <a:rPr sz="600" dirty="0" err="1">
                <a:latin typeface="Arial"/>
                <a:cs typeface="Arial"/>
              </a:rPr>
              <a:t>orice</a:t>
            </a:r>
            <a:r>
              <a:rPr sz="600" dirty="0">
                <a:latin typeface="Arial"/>
                <a:cs typeface="Arial"/>
              </a:rPr>
              <a:t> </a:t>
            </a:r>
            <a:r>
              <a:rPr sz="600" dirty="0" err="1">
                <a:latin typeface="Arial"/>
                <a:cs typeface="Arial"/>
              </a:rPr>
              <a:t>sarcină</a:t>
            </a:r>
            <a:r>
              <a:rPr sz="600" dirty="0">
                <a:latin typeface="Arial"/>
                <a:cs typeface="Arial"/>
              </a:rPr>
              <a:t>. </a:t>
            </a:r>
            <a:r>
              <a:rPr sz="600" dirty="0" err="1">
                <a:latin typeface="Arial"/>
                <a:cs typeface="Arial"/>
              </a:rPr>
              <a:t>Noua</a:t>
            </a:r>
            <a:r>
              <a:rPr sz="600" dirty="0">
                <a:latin typeface="Arial"/>
                <a:cs typeface="Arial"/>
              </a:rPr>
              <a:t> </a:t>
            </a:r>
            <a:r>
              <a:rPr sz="600" dirty="0" err="1">
                <a:latin typeface="Arial"/>
                <a:cs typeface="Arial"/>
              </a:rPr>
              <a:t>noastră</a:t>
            </a:r>
            <a:r>
              <a:rPr sz="600" dirty="0">
                <a:latin typeface="Arial"/>
                <a:cs typeface="Arial"/>
              </a:rPr>
              <a:t> </a:t>
            </a:r>
            <a:r>
              <a:rPr sz="600" dirty="0" err="1">
                <a:latin typeface="Arial"/>
                <a:cs typeface="Arial"/>
              </a:rPr>
              <a:t>gamă</a:t>
            </a:r>
            <a:r>
              <a:rPr sz="600" dirty="0">
                <a:effectLst/>
                <a:latin typeface="Arial"/>
                <a:cs typeface="Arial"/>
              </a:rPr>
              <a:t> </a:t>
            </a:r>
            <a:r>
              <a:rPr sz="600" dirty="0">
                <a:latin typeface="Arial"/>
                <a:cs typeface="Arial"/>
              </a:rPr>
              <a:t>MC1C-MC2C</a:t>
            </a:r>
            <a:r>
              <a:rPr dirty="0"/>
              <a:t>de </a:t>
            </a:r>
            <a:r>
              <a:rPr dirty="0" err="1"/>
              <a:t>aparate</a:t>
            </a:r>
            <a:r>
              <a:rPr dirty="0"/>
              <a:t> de </a:t>
            </a:r>
            <a:r>
              <a:rPr dirty="0" err="1"/>
              <a:t>spălare</a:t>
            </a:r>
            <a:r>
              <a:rPr dirty="0"/>
              <a:t> cu </a:t>
            </a:r>
            <a:r>
              <a:rPr dirty="0" err="1"/>
              <a:t>înaltă</a:t>
            </a:r>
            <a:r>
              <a:rPr dirty="0"/>
              <a:t> </a:t>
            </a:r>
            <a:r>
              <a:rPr dirty="0" err="1"/>
              <a:t>presiune</a:t>
            </a:r>
            <a:r>
              <a:rPr dirty="0"/>
              <a:t> cu </a:t>
            </a:r>
            <a:r>
              <a:rPr dirty="0" err="1"/>
              <a:t>apă</a:t>
            </a:r>
            <a:r>
              <a:rPr dirty="0"/>
              <a:t> </a:t>
            </a:r>
            <a:r>
              <a:rPr dirty="0" err="1"/>
              <a:t>rece</a:t>
            </a:r>
            <a:r>
              <a:rPr dirty="0"/>
              <a:t> </a:t>
            </a:r>
            <a:r>
              <a:rPr dirty="0" err="1"/>
              <a:t>oferă</a:t>
            </a:r>
            <a:r>
              <a:rPr dirty="0"/>
              <a:t> </a:t>
            </a:r>
            <a:r>
              <a:rPr dirty="0" err="1"/>
              <a:t>mai</a:t>
            </a:r>
            <a:r>
              <a:rPr dirty="0"/>
              <a:t> </a:t>
            </a:r>
            <a:r>
              <a:rPr dirty="0" err="1"/>
              <a:t>multă</a:t>
            </a:r>
            <a:r>
              <a:rPr dirty="0"/>
              <a:t> </a:t>
            </a:r>
            <a:r>
              <a:rPr dirty="0" err="1"/>
              <a:t>putere</a:t>
            </a:r>
            <a:r>
              <a:rPr dirty="0"/>
              <a:t> </a:t>
            </a:r>
            <a:r>
              <a:rPr dirty="0" err="1"/>
              <a:t>profesioniștilor</a:t>
            </a:r>
            <a:r>
              <a:rPr dirty="0"/>
              <a:t>. </a:t>
            </a:r>
            <a:r>
              <a:rPr dirty="0" err="1"/>
              <a:t>Bucurați-vă</a:t>
            </a:r>
            <a:r>
              <a:rPr dirty="0"/>
              <a:t> de </a:t>
            </a:r>
            <a:r>
              <a:rPr dirty="0" err="1"/>
              <a:t>pistolul</a:t>
            </a:r>
            <a:r>
              <a:rPr dirty="0"/>
              <a:t> de </a:t>
            </a:r>
            <a:r>
              <a:rPr dirty="0" err="1"/>
              <a:t>pulverizare</a:t>
            </a:r>
            <a:r>
              <a:rPr dirty="0"/>
              <a:t> </a:t>
            </a:r>
            <a:r>
              <a:rPr dirty="0" err="1"/>
              <a:t>proiectat</a:t>
            </a:r>
            <a:r>
              <a:rPr dirty="0"/>
              <a:t> ergonomic, care </a:t>
            </a:r>
            <a:r>
              <a:rPr dirty="0" err="1"/>
              <a:t>permite</a:t>
            </a:r>
            <a:r>
              <a:rPr dirty="0"/>
              <a:t> </a:t>
            </a:r>
            <a:r>
              <a:rPr dirty="0" err="1"/>
              <a:t>acestei</a:t>
            </a:r>
            <a:r>
              <a:rPr dirty="0"/>
              <a:t> </a:t>
            </a:r>
            <a:r>
              <a:rPr dirty="0" err="1"/>
              <a:t>mașini</a:t>
            </a:r>
            <a:r>
              <a:rPr dirty="0"/>
              <a:t> </a:t>
            </a:r>
            <a:r>
              <a:rPr dirty="0" err="1"/>
              <a:t>să</a:t>
            </a:r>
            <a:r>
              <a:rPr dirty="0"/>
              <a:t> </a:t>
            </a:r>
            <a:r>
              <a:rPr dirty="0" err="1"/>
              <a:t>funcționeze</a:t>
            </a:r>
            <a:r>
              <a:rPr dirty="0"/>
              <a:t> </a:t>
            </a:r>
            <a:r>
              <a:rPr dirty="0" err="1"/>
              <a:t>mai</a:t>
            </a:r>
            <a:r>
              <a:rPr dirty="0"/>
              <a:t> </a:t>
            </a:r>
            <a:r>
              <a:rPr dirty="0" err="1"/>
              <a:t>eficient</a:t>
            </a:r>
            <a:r>
              <a:rPr dirty="0"/>
              <a:t> la o </a:t>
            </a:r>
            <a:r>
              <a:rPr sz="600" dirty="0" err="1">
                <a:latin typeface="Arial"/>
                <a:cs typeface="Arial"/>
              </a:rPr>
              <a:t>presiune</a:t>
            </a:r>
            <a:r>
              <a:rPr sz="600" dirty="0">
                <a:latin typeface="Arial"/>
                <a:cs typeface="Arial"/>
              </a:rPr>
              <a:t> </a:t>
            </a:r>
            <a:r>
              <a:rPr dirty="0" err="1"/>
              <a:t>mai</a:t>
            </a:r>
            <a:r>
              <a:rPr dirty="0"/>
              <a:t> </a:t>
            </a:r>
            <a:r>
              <a:rPr dirty="0" err="1"/>
              <a:t>mică</a:t>
            </a:r>
            <a:r>
              <a:rPr sz="600" dirty="0" err="1">
                <a:effectLst/>
                <a:latin typeface="Arial"/>
                <a:cs typeface="Arial"/>
              </a:rPr>
              <a:t>și</a:t>
            </a:r>
            <a:r>
              <a:rPr sz="600" dirty="0">
                <a:effectLst/>
                <a:latin typeface="Arial"/>
                <a:cs typeface="Arial"/>
              </a:rPr>
              <a:t> </a:t>
            </a:r>
            <a:r>
              <a:rPr sz="600" dirty="0" err="1">
                <a:effectLst/>
                <a:latin typeface="Arial"/>
                <a:cs typeface="Arial"/>
              </a:rPr>
              <a:t>să</a:t>
            </a:r>
            <a:r>
              <a:rPr sz="600" dirty="0">
                <a:effectLst/>
                <a:latin typeface="Arial"/>
                <a:cs typeface="Arial"/>
              </a:rPr>
              <a:t> </a:t>
            </a:r>
            <a:r>
              <a:rPr sz="600" dirty="0" err="1">
                <a:effectLst/>
                <a:latin typeface="Arial"/>
                <a:cs typeface="Arial"/>
              </a:rPr>
              <a:t>reducă</a:t>
            </a:r>
            <a:r>
              <a:rPr sz="600" dirty="0">
                <a:effectLst/>
                <a:latin typeface="Arial"/>
                <a:cs typeface="Arial"/>
              </a:rPr>
              <a:t> </a:t>
            </a:r>
            <a:r>
              <a:rPr sz="600" dirty="0" err="1">
                <a:effectLst/>
                <a:latin typeface="Arial"/>
                <a:cs typeface="Arial"/>
              </a:rPr>
              <a:t>riscul</a:t>
            </a:r>
            <a:r>
              <a:rPr sz="600" dirty="0">
                <a:effectLst/>
                <a:latin typeface="Arial"/>
                <a:cs typeface="Arial"/>
              </a:rPr>
              <a:t> de </a:t>
            </a:r>
            <a:r>
              <a:rPr sz="600" dirty="0" err="1">
                <a:effectLst/>
                <a:latin typeface="Arial"/>
                <a:cs typeface="Arial"/>
              </a:rPr>
              <a:t>suprasolicitare</a:t>
            </a:r>
            <a:r>
              <a:rPr sz="600" dirty="0">
                <a:effectLst/>
                <a:latin typeface="Arial"/>
                <a:cs typeface="Arial"/>
              </a:rPr>
              <a:t>. </a:t>
            </a:r>
            <a:endParaRPr lang="da-DK" sz="100" b="1" dirty="0">
              <a:latin typeface="Arial"/>
              <a:ea typeface="Roboto Light"/>
              <a:cs typeface="Arial"/>
            </a:endParaRP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F1E5BD08-B4A6-7940-99A6-F88263D8A341}"/>
              </a:ext>
            </a:extLst>
          </p:cNvPr>
          <p:cNvSpPr txBox="1"/>
          <p:nvPr/>
        </p:nvSpPr>
        <p:spPr>
          <a:xfrm>
            <a:off x="4633847" y="3234172"/>
            <a:ext cx="183775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sz="700" b="1">
                <a:solidFill>
                  <a:schemeClr val="accent3"/>
                </a:solidFill>
                <a:latin typeface="Arial"/>
                <a:cs typeface="Arial"/>
              </a:rPr>
              <a:t>Aflați mai mult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11A7766-37BF-6477-628D-C5AB3EFF09B8}"/>
              </a:ext>
            </a:extLst>
          </p:cNvPr>
          <p:cNvSpPr txBox="1"/>
          <p:nvPr/>
        </p:nvSpPr>
        <p:spPr>
          <a:xfrm>
            <a:off x="560483" y="1277134"/>
            <a:ext cx="609683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sz="700" b="1">
                <a:hlinkClick r:id="rId5"/>
              </a:rPr>
              <a:t>Legătură către text</a:t>
            </a:r>
            <a:endParaRPr lang="en-DK" sz="700" b="1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010ED15-6DFA-8538-F07D-576E6954406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1378" y="1295460"/>
            <a:ext cx="153888" cy="153888"/>
          </a:xfrm>
          <a:prstGeom prst="rect">
            <a:avLst/>
          </a:prstGeom>
        </p:spPr>
      </p:pic>
      <p:pic>
        <p:nvPicPr>
          <p:cNvPr id="14" name="Ro Media2">
            <a:hlinkClick r:id="" action="ppaction://media"/>
            <a:extLst>
              <a:ext uri="{FF2B5EF4-FFF2-40B4-BE49-F238E27FC236}">
                <a16:creationId xmlns:a16="http://schemas.microsoft.com/office/drawing/2014/main" id="{244EC827-0A4C-48C9-E86B-BDADDCC01497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4481920" y="3363828"/>
            <a:ext cx="1989677" cy="1989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374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8014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36041155-4225-9003-6DBB-EEEEC812592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t>INFORMAȚII CONFIDENȚIALE ALE COMPANIEI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91EA273C-1A90-AE2E-3529-12C521E3D1D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47DD55E-4301-0465-1739-BEAC8126C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SoMe #3</a:t>
            </a:r>
            <a:endParaRPr lang="en-DK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FC6252E6-3207-37B8-5D99-B272258C35F0}"/>
              </a:ext>
            </a:extLst>
          </p:cNvPr>
          <p:cNvSpPr txBox="1">
            <a:spLocks/>
          </p:cNvSpPr>
          <p:nvPr/>
        </p:nvSpPr>
        <p:spPr>
          <a:xfrm>
            <a:off x="7298635" y="2783164"/>
            <a:ext cx="3077817" cy="1815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5000"/>
              </a:lnSpc>
              <a:spcAft>
                <a:spcPts val="800"/>
              </a:spcAft>
            </a:pPr>
            <a:r>
              <a:rPr sz="1000" dirty="0">
                <a:effectLst/>
                <a:latin typeface="Roboto"/>
                <a:cs typeface="Roboto"/>
              </a:rPr>
              <a:t>🪄Este </a:t>
            </a:r>
            <a:r>
              <a:rPr sz="1000" dirty="0" err="1">
                <a:effectLst/>
                <a:latin typeface="Roboto"/>
                <a:cs typeface="Roboto"/>
              </a:rPr>
              <a:t>straniu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să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vezi</a:t>
            </a:r>
            <a:r>
              <a:rPr sz="1000" dirty="0">
                <a:effectLst/>
                <a:latin typeface="Roboto"/>
                <a:cs typeface="Roboto"/>
              </a:rPr>
              <a:t> cum </a:t>
            </a:r>
            <a:r>
              <a:rPr sz="1000" dirty="0" err="1">
                <a:effectLst/>
                <a:latin typeface="Roboto"/>
                <a:cs typeface="Roboto"/>
              </a:rPr>
              <a:t>noroiul</a:t>
            </a:r>
            <a:r>
              <a:rPr sz="1000" dirty="0">
                <a:effectLst/>
                <a:latin typeface="Roboto"/>
                <a:cs typeface="Roboto"/>
              </a:rPr>
              <a:t>, </a:t>
            </a:r>
            <a:r>
              <a:rPr sz="1000" dirty="0" err="1">
                <a:effectLst/>
                <a:latin typeface="Roboto"/>
                <a:cs typeface="Roboto"/>
              </a:rPr>
              <a:t>nisipul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și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murdăria</a:t>
            </a:r>
            <a:r>
              <a:rPr sz="1000" dirty="0">
                <a:effectLst/>
                <a:latin typeface="Roboto"/>
                <a:cs typeface="Roboto"/>
              </a:rPr>
              <a:t> dispar cu un </a:t>
            </a:r>
            <a:r>
              <a:rPr sz="1000" dirty="0" err="1">
                <a:effectLst/>
                <a:latin typeface="Roboto"/>
                <a:cs typeface="Roboto"/>
              </a:rPr>
              <a:t>astfel</a:t>
            </a:r>
            <a:r>
              <a:rPr sz="1000" dirty="0">
                <a:effectLst/>
                <a:latin typeface="Roboto"/>
                <a:cs typeface="Roboto"/>
              </a:rPr>
              <a:t> de impact, nu-</a:t>
            </a:r>
            <a:r>
              <a:rPr sz="1000" dirty="0" err="1">
                <a:effectLst/>
                <a:latin typeface="Roboto"/>
                <a:cs typeface="Roboto"/>
              </a:rPr>
              <a:t>i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așa</a:t>
            </a:r>
            <a:r>
              <a:rPr sz="1000" dirty="0">
                <a:effectLst/>
                <a:latin typeface="Roboto"/>
                <a:cs typeface="Roboto"/>
              </a:rPr>
              <a:t>? </a:t>
            </a:r>
            <a:r>
              <a:rPr sz="1000" dirty="0" err="1">
                <a:effectLst/>
                <a:latin typeface="Roboto"/>
                <a:cs typeface="Roboto"/>
              </a:rPr>
              <a:t>Experimentați</a:t>
            </a:r>
            <a:r>
              <a:rPr sz="1000" dirty="0">
                <a:effectLst/>
                <a:latin typeface="Roboto"/>
                <a:cs typeface="Roboto"/>
              </a:rPr>
              <a:t>-l </a:t>
            </a:r>
            <a:r>
              <a:rPr sz="1000" dirty="0" err="1">
                <a:effectLst/>
                <a:latin typeface="Roboto"/>
                <a:cs typeface="Roboto"/>
              </a:rPr>
              <a:t>în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viața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reală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și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explorați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noua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noastră</a:t>
            </a:r>
            <a:r>
              <a:rPr sz="1000" dirty="0">
                <a:effectLst/>
                <a:latin typeface="Roboto"/>
                <a:cs typeface="Roboto"/>
              </a:rPr>
              <a:t>  </a:t>
            </a:r>
            <a:r>
              <a:rPr sz="1000" dirty="0" err="1">
                <a:effectLst/>
                <a:latin typeface="Roboto"/>
                <a:cs typeface="Roboto"/>
              </a:rPr>
              <a:t>gamă</a:t>
            </a:r>
            <a:r>
              <a:rPr sz="1000" dirty="0">
                <a:effectLst/>
                <a:latin typeface="Roboto"/>
                <a:cs typeface="Roboto"/>
              </a:rPr>
              <a:t> MC1C-MC2C de </a:t>
            </a:r>
            <a:r>
              <a:rPr sz="1000" dirty="0" err="1">
                <a:effectLst/>
                <a:latin typeface="Roboto"/>
                <a:cs typeface="Roboto"/>
              </a:rPr>
              <a:t>aparate</a:t>
            </a:r>
            <a:r>
              <a:rPr sz="1000" dirty="0">
                <a:effectLst/>
                <a:latin typeface="Roboto"/>
                <a:cs typeface="Roboto"/>
              </a:rPr>
              <a:t> de </a:t>
            </a:r>
            <a:r>
              <a:rPr sz="1000" dirty="0" err="1">
                <a:effectLst/>
                <a:latin typeface="Roboto"/>
                <a:cs typeface="Roboto"/>
              </a:rPr>
              <a:t>curățare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profesionale</a:t>
            </a:r>
            <a:r>
              <a:rPr sz="1000" dirty="0">
                <a:effectLst/>
                <a:latin typeface="Roboto"/>
                <a:cs typeface="Roboto"/>
              </a:rPr>
              <a:t> cu </a:t>
            </a:r>
            <a:r>
              <a:rPr sz="1000" dirty="0" err="1">
                <a:effectLst/>
                <a:latin typeface="Roboto"/>
                <a:cs typeface="Roboto"/>
              </a:rPr>
              <a:t>presiune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înaltă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și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apă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rece</a:t>
            </a:r>
            <a:r>
              <a:rPr sz="1000" dirty="0">
                <a:effectLst/>
                <a:latin typeface="Roboto"/>
                <a:cs typeface="Roboto"/>
              </a:rPr>
              <a:t>. </a:t>
            </a:r>
            <a:r>
              <a:rPr sz="1000" dirty="0" err="1">
                <a:effectLst/>
                <a:latin typeface="Roboto"/>
                <a:cs typeface="Roboto"/>
              </a:rPr>
              <a:t>Iată</a:t>
            </a:r>
            <a:r>
              <a:rPr sz="1000" dirty="0">
                <a:effectLst/>
                <a:latin typeface="Roboto"/>
                <a:cs typeface="Roboto"/>
              </a:rPr>
              <a:t> un </a:t>
            </a:r>
            <a:r>
              <a:rPr sz="1000" dirty="0" err="1">
                <a:effectLst/>
                <a:latin typeface="Roboto"/>
                <a:cs typeface="Roboto"/>
              </a:rPr>
              <a:t>avertisment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corect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pentru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toate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sarcinile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zilnice</a:t>
            </a:r>
            <a:r>
              <a:rPr sz="1000" dirty="0">
                <a:effectLst/>
                <a:latin typeface="Roboto"/>
                <a:cs typeface="Roboto"/>
              </a:rPr>
              <a:t> de </a:t>
            </a:r>
            <a:r>
              <a:rPr sz="1000" dirty="0" err="1">
                <a:effectLst/>
                <a:latin typeface="Roboto"/>
                <a:cs typeface="Roboto"/>
              </a:rPr>
              <a:t>curățenie</a:t>
            </a:r>
            <a:r>
              <a:rPr sz="1000" dirty="0">
                <a:effectLst/>
                <a:latin typeface="Roboto"/>
                <a:cs typeface="Roboto"/>
              </a:rPr>
              <a:t> de </a:t>
            </a:r>
            <a:r>
              <a:rPr sz="1000" dirty="0" err="1">
                <a:effectLst/>
                <a:latin typeface="Roboto"/>
                <a:cs typeface="Roboto"/>
              </a:rPr>
              <a:t>acolo</a:t>
            </a:r>
            <a:r>
              <a:rPr sz="1000" dirty="0">
                <a:effectLst/>
                <a:latin typeface="Roboto"/>
                <a:cs typeface="Roboto"/>
              </a:rPr>
              <a:t>: </a:t>
            </a:r>
            <a:r>
              <a:rPr sz="1000" dirty="0" err="1">
                <a:effectLst/>
                <a:latin typeface="Roboto"/>
                <a:cs typeface="Roboto"/>
              </a:rPr>
              <a:t>reducere</a:t>
            </a:r>
            <a:r>
              <a:rPr sz="1000" dirty="0">
                <a:effectLst/>
                <a:latin typeface="Roboto"/>
                <a:cs typeface="Roboto"/>
              </a:rPr>
              <a:t>!</a:t>
            </a:r>
          </a:p>
        </p:txBody>
      </p:sp>
      <p:sp>
        <p:nvSpPr>
          <p:cNvPr id="12" name="Pladsholder til tekst 3">
            <a:extLst>
              <a:ext uri="{FF2B5EF4-FFF2-40B4-BE49-F238E27FC236}">
                <a16:creationId xmlns:a16="http://schemas.microsoft.com/office/drawing/2014/main" id="{FE2FD3A0-47EF-6AC4-C765-097E55CBA8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r>
              <a:rPr sz="800"/>
              <a:t>Dimensiune: 1200x1200</a:t>
            </a:r>
            <a:endParaRPr lang="en-DK" sz="800"/>
          </a:p>
        </p:txBody>
      </p:sp>
      <p:pic>
        <p:nvPicPr>
          <p:cNvPr id="14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BCEB6F73-09AC-A804-4D83-E3C80258D4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949" y="1362343"/>
            <a:ext cx="2639033" cy="4691615"/>
          </a:xfrm>
          <a:prstGeom prst="rect">
            <a:avLst/>
          </a:prstGeom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67086BFB-A0A3-A750-03B8-2810D1EA8FFB}"/>
              </a:ext>
            </a:extLst>
          </p:cNvPr>
          <p:cNvSpPr txBox="1"/>
          <p:nvPr/>
        </p:nvSpPr>
        <p:spPr>
          <a:xfrm>
            <a:off x="4623799" y="2481108"/>
            <a:ext cx="1727187" cy="62805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</a:pPr>
            <a:r>
              <a:rPr sz="600">
                <a:effectLst/>
                <a:latin typeface="Arial"/>
                <a:cs typeface="Arial"/>
              </a:rPr>
              <a:t>🪄Este straniu să vezi cum noroiul, nisipul și murdăria dispar cu un astfel de impact, nu-i așa? Experimentați-l în viața </a:t>
            </a:r>
            <a:r>
              <a:rPr sz="600">
                <a:latin typeface="Arial"/>
                <a:cs typeface="Arial"/>
              </a:rPr>
              <a:t>reală și</a:t>
            </a:r>
            <a:r>
              <a:rPr sz="600">
                <a:effectLst/>
                <a:latin typeface="Arial"/>
                <a:cs typeface="Arial"/>
              </a:rPr>
              <a:t> explorați noua noastră  gamă MC1C-MC2C de aparate de curățare profesionale cu presiune înaltă și apă rece. Iată un avertisment corect pentru toate sarcinile zilnice de curățenie de acolo: reducere!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F1E5BD08-B4A6-7940-99A6-F88263D8A341}"/>
              </a:ext>
            </a:extLst>
          </p:cNvPr>
          <p:cNvSpPr txBox="1"/>
          <p:nvPr/>
        </p:nvSpPr>
        <p:spPr>
          <a:xfrm>
            <a:off x="4623799" y="3234172"/>
            <a:ext cx="183775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sz="700" b="1">
                <a:solidFill>
                  <a:schemeClr val="accent3"/>
                </a:solidFill>
                <a:latin typeface="Arial"/>
                <a:cs typeface="Arial"/>
              </a:rPr>
              <a:t>Aflați mai mult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20A6031-F19E-341B-F05D-11DFAB5658A4}"/>
              </a:ext>
            </a:extLst>
          </p:cNvPr>
          <p:cNvSpPr txBox="1"/>
          <p:nvPr/>
        </p:nvSpPr>
        <p:spPr>
          <a:xfrm>
            <a:off x="560483" y="1277134"/>
            <a:ext cx="609683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sz="700" b="1">
                <a:hlinkClick r:id="rId5"/>
              </a:rPr>
              <a:t>Legătură către text</a:t>
            </a:r>
            <a:endParaRPr lang="en-DK" sz="700" b="1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99F794A-D897-73A2-0CD3-67EAD0EEBFE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1378" y="1295460"/>
            <a:ext cx="153888" cy="153888"/>
          </a:xfrm>
          <a:prstGeom prst="rect">
            <a:avLst/>
          </a:prstGeom>
        </p:spPr>
      </p:pic>
      <p:pic>
        <p:nvPicPr>
          <p:cNvPr id="4" name="Ro Media3">
            <a:hlinkClick r:id="" action="ppaction://media"/>
            <a:extLst>
              <a:ext uri="{FF2B5EF4-FFF2-40B4-BE49-F238E27FC236}">
                <a16:creationId xmlns:a16="http://schemas.microsoft.com/office/drawing/2014/main" id="{2F99671D-55BE-B036-0130-92FD6DBFEC9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 flipH="1">
            <a:off x="4494545" y="3360584"/>
            <a:ext cx="1967004" cy="1967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584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8016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36041155-4225-9003-6DBB-EEEEC812592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t>INFORMAȚII CONFIDENȚIALE ALE COMPANIEI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91EA273C-1A90-AE2E-3529-12C521E3D1D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94066FE-D8E7-FC5F-71C1-DE64562370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sz="800"/>
              <a:t>Dimensiune: 1200x1200</a:t>
            </a:r>
            <a:endParaRPr lang="en-DK" sz="80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47DD55E-4301-0465-1739-BEAC8126C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SoMe #4</a:t>
            </a:r>
            <a:endParaRPr lang="en-DK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FC6252E6-3207-37B8-5D99-B272258C35F0}"/>
              </a:ext>
            </a:extLst>
          </p:cNvPr>
          <p:cNvSpPr txBox="1">
            <a:spLocks/>
          </p:cNvSpPr>
          <p:nvPr/>
        </p:nvSpPr>
        <p:spPr>
          <a:xfrm>
            <a:off x="7298635" y="2783164"/>
            <a:ext cx="3077817" cy="1815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5000"/>
              </a:lnSpc>
              <a:spcAft>
                <a:spcPts val="800"/>
              </a:spcAft>
            </a:pPr>
            <a:r>
              <a:rPr sz="1000" dirty="0">
                <a:effectLst/>
                <a:latin typeface="Roboto"/>
                <a:cs typeface="Roboto"/>
              </a:rPr>
              <a:t>📦✨</a:t>
            </a:r>
            <a:r>
              <a:rPr sz="1000" dirty="0" err="1">
                <a:effectLst/>
                <a:latin typeface="Roboto"/>
                <a:cs typeface="Roboto"/>
              </a:rPr>
              <a:t>Doriți</a:t>
            </a:r>
            <a:r>
              <a:rPr sz="1000" dirty="0">
                <a:effectLst/>
                <a:latin typeface="Roboto"/>
                <a:cs typeface="Roboto"/>
              </a:rPr>
              <a:t> o </a:t>
            </a:r>
            <a:r>
              <a:rPr sz="1000" dirty="0" err="1">
                <a:effectLst/>
                <a:latin typeface="Roboto"/>
                <a:cs typeface="Roboto"/>
              </a:rPr>
              <a:t>experiență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completă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imediată</a:t>
            </a:r>
            <a:r>
              <a:rPr sz="1000" dirty="0">
                <a:effectLst/>
                <a:latin typeface="Roboto"/>
                <a:cs typeface="Roboto"/>
              </a:rPr>
              <a:t> cu </a:t>
            </a:r>
            <a:r>
              <a:rPr sz="1000" dirty="0" err="1">
                <a:effectLst/>
                <a:latin typeface="Roboto"/>
                <a:cs typeface="Roboto"/>
              </a:rPr>
              <a:t>aparatul</a:t>
            </a:r>
            <a:r>
              <a:rPr sz="1000" dirty="0">
                <a:effectLst/>
                <a:latin typeface="Roboto"/>
                <a:cs typeface="Roboto"/>
              </a:rPr>
              <a:t> de </a:t>
            </a:r>
            <a:r>
              <a:rPr sz="1000" dirty="0" err="1">
                <a:effectLst/>
                <a:latin typeface="Roboto"/>
                <a:cs typeface="Roboto"/>
              </a:rPr>
              <a:t>curățare</a:t>
            </a:r>
            <a:r>
              <a:rPr sz="1000" dirty="0">
                <a:effectLst/>
                <a:latin typeface="Roboto"/>
                <a:cs typeface="Roboto"/>
              </a:rPr>
              <a:t> cu </a:t>
            </a:r>
            <a:r>
              <a:rPr sz="1000" dirty="0" err="1">
                <a:effectLst/>
                <a:latin typeface="Roboto"/>
                <a:cs typeface="Roboto"/>
              </a:rPr>
              <a:t>înaltă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presiune</a:t>
            </a:r>
            <a:r>
              <a:rPr sz="1000" dirty="0">
                <a:effectLst/>
                <a:latin typeface="Roboto"/>
                <a:cs typeface="Roboto"/>
              </a:rPr>
              <a:t> cu </a:t>
            </a:r>
            <a:r>
              <a:rPr sz="1000" dirty="0" err="1">
                <a:effectLst/>
                <a:latin typeface="Roboto"/>
                <a:cs typeface="Roboto"/>
              </a:rPr>
              <a:t>apă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rece</a:t>
            </a:r>
            <a:r>
              <a:rPr sz="1000" dirty="0">
                <a:effectLst/>
                <a:latin typeface="Roboto"/>
                <a:cs typeface="Roboto"/>
              </a:rPr>
              <a:t>  MC2C </a:t>
            </a:r>
            <a:r>
              <a:rPr sz="1000" dirty="0" err="1">
                <a:effectLst/>
                <a:latin typeface="Roboto"/>
                <a:cs typeface="Roboto"/>
              </a:rPr>
              <a:t>modernizat</a:t>
            </a:r>
            <a:r>
              <a:rPr sz="1000" dirty="0">
                <a:effectLst/>
                <a:latin typeface="Roboto"/>
                <a:cs typeface="Roboto"/>
              </a:rPr>
              <a:t>? </a:t>
            </a:r>
            <a:r>
              <a:rPr sz="1000" dirty="0" err="1">
                <a:effectLst/>
                <a:latin typeface="Roboto"/>
                <a:cs typeface="Roboto"/>
              </a:rPr>
              <a:t>Trebuie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doar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să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căutați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cutia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maro</a:t>
            </a:r>
            <a:r>
              <a:rPr sz="1000" dirty="0">
                <a:effectLst/>
                <a:latin typeface="Roboto"/>
                <a:cs typeface="Roboto"/>
              </a:rPr>
              <a:t> de carton de la </a:t>
            </a:r>
            <a:r>
              <a:rPr sz="1000" dirty="0" err="1">
                <a:effectLst/>
                <a:latin typeface="Roboto"/>
                <a:cs typeface="Roboto"/>
              </a:rPr>
              <a:t>distribuitorul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dvs</a:t>
            </a:r>
            <a:r>
              <a:rPr sz="1000" dirty="0">
                <a:effectLst/>
                <a:latin typeface="Roboto"/>
                <a:cs typeface="Roboto"/>
              </a:rPr>
              <a:t>. </a:t>
            </a:r>
            <a:r>
              <a:rPr sz="1000" dirty="0" err="1">
                <a:effectLst/>
                <a:latin typeface="Roboto"/>
                <a:cs typeface="Roboto"/>
              </a:rPr>
              <a:t>pentru</a:t>
            </a:r>
            <a:r>
              <a:rPr sz="1000" dirty="0">
                <a:effectLst/>
                <a:latin typeface="Roboto"/>
                <a:cs typeface="Roboto"/>
              </a:rPr>
              <a:t> a o </a:t>
            </a:r>
            <a:r>
              <a:rPr sz="1000" dirty="0" err="1">
                <a:effectLst/>
                <a:latin typeface="Roboto"/>
                <a:cs typeface="Roboto"/>
              </a:rPr>
              <a:t>obține</a:t>
            </a:r>
            <a:r>
              <a:rPr sz="1000" dirty="0">
                <a:effectLst/>
                <a:latin typeface="Roboto"/>
                <a:cs typeface="Roboto"/>
              </a:rPr>
              <a:t> (cu </a:t>
            </a:r>
            <a:r>
              <a:rPr sz="1000" dirty="0" err="1">
                <a:effectLst/>
                <a:latin typeface="Roboto"/>
                <a:cs typeface="Roboto"/>
              </a:rPr>
              <a:t>adevărat</a:t>
            </a:r>
            <a:r>
              <a:rPr sz="1000" dirty="0">
                <a:effectLst/>
                <a:latin typeface="Roboto"/>
                <a:cs typeface="Roboto"/>
              </a:rPr>
              <a:t>!) </a:t>
            </a:r>
            <a:r>
              <a:rPr sz="1000" dirty="0" err="1">
                <a:effectLst/>
                <a:latin typeface="Roboto"/>
                <a:cs typeface="Roboto"/>
              </a:rPr>
              <a:t>caracteristici</a:t>
            </a:r>
            <a:r>
              <a:rPr sz="1000" dirty="0">
                <a:effectLst/>
                <a:latin typeface="Roboto"/>
                <a:cs typeface="Roboto"/>
              </a:rPr>
              <a:t> cool, cum </a:t>
            </a:r>
            <a:r>
              <a:rPr sz="1000" dirty="0" err="1">
                <a:effectLst/>
                <a:latin typeface="Roboto"/>
                <a:cs typeface="Roboto"/>
              </a:rPr>
              <a:t>ar</a:t>
            </a:r>
            <a:r>
              <a:rPr sz="1000" dirty="0">
                <a:effectLst/>
                <a:latin typeface="Roboto"/>
                <a:cs typeface="Roboto"/>
              </a:rPr>
              <a:t> fi un pistol ergonomic, o </a:t>
            </a:r>
            <a:r>
              <a:rPr sz="1000" dirty="0" err="1">
                <a:effectLst/>
                <a:latin typeface="Roboto"/>
                <a:cs typeface="Roboto"/>
              </a:rPr>
              <a:t>duză</a:t>
            </a:r>
            <a:r>
              <a:rPr sz="1000" dirty="0">
                <a:effectLst/>
                <a:latin typeface="Roboto"/>
                <a:cs typeface="Roboto"/>
              </a:rPr>
              <a:t> 4 </a:t>
            </a:r>
            <a:r>
              <a:rPr sz="1000" dirty="0" err="1">
                <a:effectLst/>
                <a:latin typeface="Roboto"/>
                <a:cs typeface="Roboto"/>
              </a:rPr>
              <a:t>în</a:t>
            </a:r>
            <a:r>
              <a:rPr sz="1000" dirty="0">
                <a:effectLst/>
                <a:latin typeface="Roboto"/>
                <a:cs typeface="Roboto"/>
              </a:rPr>
              <a:t> 1 </a:t>
            </a:r>
            <a:r>
              <a:rPr sz="1000" dirty="0" err="1">
                <a:effectLst/>
                <a:latin typeface="Roboto"/>
                <a:cs typeface="Roboto"/>
              </a:rPr>
              <a:t>și</a:t>
            </a:r>
            <a:r>
              <a:rPr sz="1000" dirty="0">
                <a:effectLst/>
                <a:latin typeface="Roboto"/>
                <a:cs typeface="Roboto"/>
              </a:rPr>
              <a:t> un </a:t>
            </a:r>
            <a:r>
              <a:rPr sz="1000" dirty="0" err="1">
                <a:effectLst/>
                <a:latin typeface="Roboto"/>
                <a:cs typeface="Roboto"/>
              </a:rPr>
              <a:t>furtun</a:t>
            </a:r>
            <a:r>
              <a:rPr sz="1000" dirty="0">
                <a:effectLst/>
                <a:latin typeface="Roboto"/>
                <a:cs typeface="Roboto"/>
              </a:rPr>
              <a:t> cu </a:t>
            </a:r>
            <a:r>
              <a:rPr sz="1000" dirty="0" err="1">
                <a:effectLst/>
                <a:latin typeface="Roboto"/>
                <a:cs typeface="Roboto"/>
              </a:rPr>
              <a:t>armătură</a:t>
            </a:r>
            <a:r>
              <a:rPr sz="1000" dirty="0">
                <a:effectLst/>
                <a:latin typeface="Roboto"/>
                <a:cs typeface="Roboto"/>
              </a:rPr>
              <a:t> de </a:t>
            </a:r>
            <a:r>
              <a:rPr sz="1000" dirty="0" err="1">
                <a:effectLst/>
                <a:latin typeface="Roboto"/>
                <a:cs typeface="Roboto"/>
              </a:rPr>
              <a:t>oțel</a:t>
            </a:r>
            <a:r>
              <a:rPr sz="1000" dirty="0">
                <a:effectLst/>
                <a:latin typeface="Roboto"/>
                <a:cs typeface="Roboto"/>
              </a:rPr>
              <a:t> de 15 m</a:t>
            </a:r>
            <a:r>
              <a:rPr sz="1000" dirty="0">
                <a:latin typeface="Roboto"/>
                <a:cs typeface="Roboto"/>
              </a:rPr>
              <a:t> care </a:t>
            </a:r>
            <a:r>
              <a:rPr sz="1000" dirty="0" err="1">
                <a:latin typeface="Roboto"/>
                <a:cs typeface="Roboto"/>
              </a:rPr>
              <a:t>minimizează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încurcăturile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și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este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ușor</a:t>
            </a:r>
            <a:r>
              <a:rPr sz="1000" dirty="0">
                <a:effectLst/>
                <a:latin typeface="Roboto"/>
                <a:cs typeface="Roboto"/>
              </a:rPr>
              <a:t> de </a:t>
            </a:r>
            <a:r>
              <a:rPr sz="1000" dirty="0" err="1">
                <a:effectLst/>
                <a:latin typeface="Roboto"/>
                <a:cs typeface="Roboto"/>
              </a:rPr>
              <a:t>înfășurat</a:t>
            </a:r>
            <a:r>
              <a:rPr sz="1000" dirty="0">
                <a:effectLst/>
                <a:latin typeface="Roboto"/>
                <a:cs typeface="Roboto"/>
              </a:rPr>
              <a:t>.</a:t>
            </a:r>
          </a:p>
        </p:txBody>
      </p:sp>
      <p:pic>
        <p:nvPicPr>
          <p:cNvPr id="11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E86E2A7D-7325-929D-894F-B27DB643C5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949" y="1362343"/>
            <a:ext cx="2639033" cy="4691615"/>
          </a:xfrm>
          <a:prstGeom prst="rect">
            <a:avLst/>
          </a:prstGeom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67086BFB-A0A3-A750-03B8-2810D1EA8FFB}"/>
              </a:ext>
            </a:extLst>
          </p:cNvPr>
          <p:cNvSpPr txBox="1"/>
          <p:nvPr/>
        </p:nvSpPr>
        <p:spPr>
          <a:xfrm>
            <a:off x="4593654" y="2481108"/>
            <a:ext cx="1727187" cy="73424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</a:pPr>
            <a:r>
              <a:rPr sz="600">
                <a:effectLst/>
                <a:latin typeface="Arial"/>
                <a:cs typeface="Arial"/>
              </a:rPr>
              <a:t>📦✨Doriți o experiență completă imediată cu aparatul de curățare cu înaltă presiune cu apă rece  MC2C modernizat? Trebuie doar să căutați cutia maro de carton de la distribuitorul dvs. pentru a o obține (cu adevărat!) caracteristici cool, cum ar fi un pistol ergonomic, o tijă 4 în 1 și un furtun cu armătură de oțel de 15 m</a:t>
            </a:r>
            <a:r>
              <a:rPr sz="600">
                <a:latin typeface="Arial"/>
                <a:cs typeface="Arial"/>
              </a:rPr>
              <a:t> care minimizează încurcăturile </a:t>
            </a:r>
            <a:r>
              <a:rPr sz="600">
                <a:effectLst/>
                <a:latin typeface="Arial"/>
                <a:cs typeface="Arial"/>
              </a:rPr>
              <a:t>și </a:t>
            </a:r>
            <a:r>
              <a:rPr sz="600">
                <a:latin typeface="Arial"/>
                <a:cs typeface="Arial"/>
              </a:rPr>
              <a:t>este ușor</a:t>
            </a:r>
            <a:r>
              <a:rPr sz="600">
                <a:effectLst/>
                <a:latin typeface="Arial"/>
                <a:cs typeface="Arial"/>
              </a:rPr>
              <a:t> de înfășurat.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F1E5BD08-B4A6-7940-99A6-F88263D8A341}"/>
              </a:ext>
            </a:extLst>
          </p:cNvPr>
          <p:cNvSpPr txBox="1"/>
          <p:nvPr/>
        </p:nvSpPr>
        <p:spPr>
          <a:xfrm>
            <a:off x="4593654" y="3234172"/>
            <a:ext cx="183775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sz="700" b="1">
                <a:solidFill>
                  <a:schemeClr val="accent3"/>
                </a:solidFill>
                <a:latin typeface="Arial"/>
                <a:cs typeface="Arial"/>
              </a:rPr>
              <a:t>Aflați mai mult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C71EF67-7E6C-C1F0-C258-F3F3D2201B62}"/>
              </a:ext>
            </a:extLst>
          </p:cNvPr>
          <p:cNvSpPr txBox="1"/>
          <p:nvPr/>
        </p:nvSpPr>
        <p:spPr>
          <a:xfrm>
            <a:off x="560483" y="1277134"/>
            <a:ext cx="609683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sz="700" b="1">
                <a:hlinkClick r:id="rId5"/>
              </a:rPr>
              <a:t>Legătură către text</a:t>
            </a:r>
            <a:endParaRPr lang="en-DK" sz="700" b="1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8E68818-9718-B9F7-7B75-749A77BD1E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1378" y="1295460"/>
            <a:ext cx="153888" cy="153888"/>
          </a:xfrm>
          <a:prstGeom prst="rect">
            <a:avLst/>
          </a:prstGeom>
        </p:spPr>
      </p:pic>
      <p:pic>
        <p:nvPicPr>
          <p:cNvPr id="6" name="Ro Media4">
            <a:hlinkClick r:id="" action="ppaction://media"/>
            <a:extLst>
              <a:ext uri="{FF2B5EF4-FFF2-40B4-BE49-F238E27FC236}">
                <a16:creationId xmlns:a16="http://schemas.microsoft.com/office/drawing/2014/main" id="{D568F5CE-993D-C1AC-CD0D-362F10CA3A3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4507352" y="3360718"/>
            <a:ext cx="2010906" cy="2010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954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9520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36041155-4225-9003-6DBB-EEEEC812592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t>INFORMAȚII CONFIDENȚIALE ALE COMPANIEI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91EA273C-1A90-AE2E-3529-12C521E3D1D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94066FE-D8E7-FC5F-71C1-DE64562370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sz="800"/>
              <a:t>Dimensiune: 1200x1200</a:t>
            </a:r>
            <a:endParaRPr lang="en-DK" sz="80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47DD55E-4301-0465-1739-BEAC8126C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SoMe #5</a:t>
            </a:r>
            <a:endParaRPr lang="en-DK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FC6252E6-3207-37B8-5D99-B272258C35F0}"/>
              </a:ext>
            </a:extLst>
          </p:cNvPr>
          <p:cNvSpPr txBox="1">
            <a:spLocks/>
          </p:cNvSpPr>
          <p:nvPr/>
        </p:nvSpPr>
        <p:spPr>
          <a:xfrm>
            <a:off x="7298635" y="2783164"/>
            <a:ext cx="3077817" cy="1815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4999"/>
              </a:lnSpc>
              <a:spcAft>
                <a:spcPts val="800"/>
              </a:spcAft>
            </a:pPr>
            <a:r>
              <a:rPr sz="700" dirty="0">
                <a:effectLst/>
                <a:latin typeface="Roboto"/>
                <a:cs typeface="Roboto"/>
              </a:rPr>
              <a:t>🤬😬🥵</a:t>
            </a:r>
            <a:r>
              <a:rPr sz="700" dirty="0" err="1">
                <a:effectLst/>
                <a:latin typeface="Roboto"/>
                <a:cs typeface="Roboto"/>
              </a:rPr>
              <a:t>Greu</a:t>
            </a:r>
            <a:r>
              <a:rPr sz="700" dirty="0">
                <a:effectLst/>
                <a:latin typeface="Roboto"/>
                <a:cs typeface="Roboto"/>
              </a:rPr>
              <a:t>, persistent, </a:t>
            </a:r>
            <a:r>
              <a:rPr sz="700" dirty="0" err="1">
                <a:effectLst/>
                <a:latin typeface="Roboto"/>
                <a:cs typeface="Roboto"/>
              </a:rPr>
              <a:t>provocator</a:t>
            </a:r>
            <a:r>
              <a:rPr sz="700" dirty="0">
                <a:effectLst/>
                <a:latin typeface="Roboto"/>
                <a:cs typeface="Roboto"/>
              </a:rPr>
              <a:t>? Exact </a:t>
            </a:r>
            <a:r>
              <a:rPr sz="700" dirty="0" err="1">
                <a:effectLst/>
                <a:latin typeface="Roboto"/>
                <a:cs typeface="Roboto"/>
              </a:rPr>
              <a:t>așa</a:t>
            </a:r>
            <a:r>
              <a:rPr sz="700" dirty="0">
                <a:effectLst/>
                <a:latin typeface="Roboto"/>
                <a:cs typeface="Roboto"/>
              </a:rPr>
              <a:t>! </a:t>
            </a:r>
            <a:r>
              <a:rPr sz="700" dirty="0" err="1">
                <a:effectLst/>
                <a:latin typeface="Roboto"/>
                <a:cs typeface="Roboto"/>
              </a:rPr>
              <a:t>Încercați</a:t>
            </a:r>
            <a:r>
              <a:rPr sz="700" dirty="0">
                <a:effectLst/>
                <a:latin typeface="Roboto"/>
                <a:cs typeface="Roboto"/>
              </a:rPr>
              <a:t> </a:t>
            </a:r>
            <a:r>
              <a:rPr sz="700" dirty="0" err="1">
                <a:effectLst/>
                <a:latin typeface="Roboto"/>
                <a:cs typeface="Roboto"/>
              </a:rPr>
              <a:t>noua</a:t>
            </a:r>
            <a:r>
              <a:rPr sz="700" dirty="0">
                <a:effectLst/>
                <a:latin typeface="Roboto"/>
                <a:cs typeface="Roboto"/>
              </a:rPr>
              <a:t> </a:t>
            </a:r>
            <a:r>
              <a:rPr sz="700" dirty="0" err="1">
                <a:effectLst/>
                <a:latin typeface="Roboto"/>
                <a:cs typeface="Roboto"/>
              </a:rPr>
              <a:t>noastră</a:t>
            </a:r>
            <a:r>
              <a:rPr sz="700" dirty="0">
                <a:effectLst/>
                <a:latin typeface="Roboto"/>
                <a:cs typeface="Roboto"/>
              </a:rPr>
              <a:t> </a:t>
            </a:r>
            <a:r>
              <a:rPr sz="700" dirty="0" err="1">
                <a:effectLst/>
                <a:latin typeface="Roboto"/>
                <a:cs typeface="Roboto"/>
              </a:rPr>
              <a:t>gamă</a:t>
            </a:r>
            <a:r>
              <a:rPr sz="700" dirty="0">
                <a:effectLst/>
                <a:latin typeface="Roboto"/>
                <a:cs typeface="Roboto"/>
              </a:rPr>
              <a:t>  MC1C-MC2C de </a:t>
            </a:r>
            <a:r>
              <a:rPr sz="700" dirty="0" err="1">
                <a:effectLst/>
                <a:latin typeface="Roboto"/>
                <a:cs typeface="Roboto"/>
              </a:rPr>
              <a:t>aparate</a:t>
            </a:r>
            <a:r>
              <a:rPr sz="700" dirty="0">
                <a:effectLst/>
                <a:latin typeface="Roboto"/>
                <a:cs typeface="Roboto"/>
              </a:rPr>
              <a:t> de </a:t>
            </a:r>
            <a:r>
              <a:rPr sz="700" dirty="0" err="1">
                <a:effectLst/>
                <a:latin typeface="Roboto"/>
                <a:cs typeface="Roboto"/>
              </a:rPr>
              <a:t>curățare</a:t>
            </a:r>
            <a:r>
              <a:rPr sz="700" dirty="0">
                <a:effectLst/>
                <a:latin typeface="Roboto"/>
                <a:cs typeface="Roboto"/>
              </a:rPr>
              <a:t> cu </a:t>
            </a:r>
            <a:r>
              <a:rPr sz="700" dirty="0" err="1">
                <a:effectLst/>
                <a:latin typeface="Roboto"/>
                <a:cs typeface="Roboto"/>
              </a:rPr>
              <a:t>înaltă</a:t>
            </a:r>
            <a:r>
              <a:rPr sz="700" dirty="0">
                <a:effectLst/>
                <a:latin typeface="Roboto"/>
                <a:cs typeface="Roboto"/>
              </a:rPr>
              <a:t> </a:t>
            </a:r>
            <a:r>
              <a:rPr sz="700" dirty="0" err="1">
                <a:effectLst/>
                <a:latin typeface="Roboto"/>
                <a:cs typeface="Roboto"/>
              </a:rPr>
              <a:t>presiune</a:t>
            </a:r>
            <a:r>
              <a:rPr sz="700" dirty="0">
                <a:effectLst/>
                <a:latin typeface="Roboto"/>
                <a:cs typeface="Roboto"/>
              </a:rPr>
              <a:t> cu </a:t>
            </a:r>
            <a:r>
              <a:rPr sz="700" dirty="0" err="1">
                <a:effectLst/>
                <a:latin typeface="Roboto"/>
                <a:cs typeface="Roboto"/>
              </a:rPr>
              <a:t>apă</a:t>
            </a:r>
            <a:r>
              <a:rPr sz="700" dirty="0">
                <a:effectLst/>
                <a:latin typeface="Roboto"/>
                <a:cs typeface="Roboto"/>
              </a:rPr>
              <a:t> </a:t>
            </a:r>
            <a:r>
              <a:rPr sz="700" dirty="0" err="1">
                <a:effectLst/>
                <a:latin typeface="Roboto"/>
                <a:cs typeface="Roboto"/>
              </a:rPr>
              <a:t>rece</a:t>
            </a:r>
            <a:r>
              <a:rPr sz="700" dirty="0">
                <a:effectLst/>
                <a:latin typeface="Roboto"/>
                <a:cs typeface="Roboto"/>
              </a:rPr>
              <a:t>. </a:t>
            </a:r>
            <a:r>
              <a:rPr sz="700" dirty="0" err="1">
                <a:effectLst/>
                <a:latin typeface="Roboto"/>
                <a:cs typeface="Roboto"/>
              </a:rPr>
              <a:t>Duza</a:t>
            </a:r>
            <a:r>
              <a:rPr sz="700" dirty="0">
                <a:effectLst/>
                <a:latin typeface="Roboto"/>
                <a:cs typeface="Roboto"/>
              </a:rPr>
              <a:t> </a:t>
            </a:r>
            <a:r>
              <a:rPr sz="700" dirty="0" err="1">
                <a:effectLst/>
                <a:latin typeface="Roboto"/>
                <a:cs typeface="Roboto"/>
              </a:rPr>
              <a:t>unică</a:t>
            </a:r>
            <a:r>
              <a:rPr sz="700" dirty="0">
                <a:effectLst/>
                <a:latin typeface="Roboto"/>
                <a:cs typeface="Roboto"/>
              </a:rPr>
              <a:t> </a:t>
            </a:r>
            <a:r>
              <a:rPr sz="700" dirty="0">
                <a:latin typeface="Roboto"/>
                <a:cs typeface="Roboto"/>
              </a:rPr>
              <a:t>4 </a:t>
            </a:r>
            <a:r>
              <a:rPr sz="700" dirty="0" err="1">
                <a:latin typeface="Roboto"/>
                <a:cs typeface="Roboto"/>
              </a:rPr>
              <a:t>în</a:t>
            </a:r>
            <a:r>
              <a:rPr sz="700" dirty="0">
                <a:latin typeface="Roboto"/>
                <a:cs typeface="Roboto"/>
              </a:rPr>
              <a:t> 1</a:t>
            </a:r>
            <a:r>
              <a:rPr sz="700" dirty="0">
                <a:effectLst/>
                <a:latin typeface="Roboto"/>
                <a:cs typeface="Roboto"/>
              </a:rPr>
              <a:t> </a:t>
            </a:r>
            <a:r>
              <a:rPr sz="700" dirty="0" err="1">
                <a:effectLst/>
                <a:latin typeface="Roboto"/>
                <a:cs typeface="Roboto"/>
              </a:rPr>
              <a:t>este</a:t>
            </a:r>
            <a:r>
              <a:rPr sz="700" dirty="0">
                <a:effectLst/>
                <a:latin typeface="Roboto"/>
                <a:cs typeface="Roboto"/>
              </a:rPr>
              <a:t> </a:t>
            </a:r>
            <a:r>
              <a:rPr sz="700" dirty="0" err="1">
                <a:effectLst/>
                <a:latin typeface="Roboto"/>
                <a:cs typeface="Roboto"/>
              </a:rPr>
              <a:t>întotdeauna</a:t>
            </a:r>
            <a:r>
              <a:rPr sz="700" dirty="0">
                <a:effectLst/>
                <a:latin typeface="Roboto"/>
                <a:cs typeface="Roboto"/>
              </a:rPr>
              <a:t> </a:t>
            </a:r>
            <a:r>
              <a:rPr sz="700" dirty="0">
                <a:latin typeface="Roboto"/>
                <a:cs typeface="Roboto"/>
              </a:rPr>
              <a:t>la </a:t>
            </a:r>
            <a:r>
              <a:rPr sz="700" dirty="0" err="1">
                <a:latin typeface="Roboto"/>
                <a:cs typeface="Roboto"/>
              </a:rPr>
              <a:t>îndemână</a:t>
            </a:r>
            <a:r>
              <a:rPr sz="700" dirty="0">
                <a:latin typeface="Roboto"/>
                <a:cs typeface="Roboto"/>
              </a:rPr>
              <a:t> </a:t>
            </a:r>
            <a:r>
              <a:rPr sz="700" dirty="0" err="1">
                <a:latin typeface="Roboto"/>
                <a:cs typeface="Roboto"/>
              </a:rPr>
              <a:t>pentru</a:t>
            </a:r>
            <a:r>
              <a:rPr sz="700" dirty="0">
                <a:latin typeface="Roboto"/>
                <a:cs typeface="Roboto"/>
              </a:rPr>
              <a:t> </a:t>
            </a:r>
            <a:r>
              <a:rPr sz="700" dirty="0" err="1">
                <a:latin typeface="Roboto"/>
                <a:cs typeface="Roboto"/>
              </a:rPr>
              <a:t>curățarea</a:t>
            </a:r>
            <a:r>
              <a:rPr sz="700" dirty="0">
                <a:latin typeface="Roboto"/>
                <a:cs typeface="Roboto"/>
              </a:rPr>
              <a:t> </a:t>
            </a:r>
            <a:r>
              <a:rPr sz="700" dirty="0" err="1">
                <a:effectLst/>
                <a:latin typeface="Roboto"/>
                <a:cs typeface="Roboto"/>
              </a:rPr>
              <a:t>și</a:t>
            </a:r>
            <a:r>
              <a:rPr sz="700" dirty="0">
                <a:effectLst/>
                <a:latin typeface="Roboto"/>
                <a:cs typeface="Roboto"/>
              </a:rPr>
              <a:t> </a:t>
            </a:r>
            <a:r>
              <a:rPr sz="700" dirty="0" err="1">
                <a:effectLst/>
                <a:latin typeface="Roboto"/>
                <a:cs typeface="Roboto"/>
              </a:rPr>
              <a:t>testarea</a:t>
            </a:r>
            <a:r>
              <a:rPr sz="700" dirty="0">
                <a:effectLst/>
                <a:latin typeface="Roboto"/>
                <a:cs typeface="Roboto"/>
              </a:rPr>
              <a:t> </a:t>
            </a:r>
            <a:r>
              <a:rPr sz="700" dirty="0" err="1">
                <a:effectLst/>
                <a:latin typeface="Roboto"/>
                <a:cs typeface="Roboto"/>
              </a:rPr>
              <a:t>oricărui</a:t>
            </a:r>
            <a:r>
              <a:rPr sz="700" dirty="0">
                <a:effectLst/>
                <a:latin typeface="Roboto"/>
                <a:cs typeface="Roboto"/>
              </a:rPr>
              <a:t> </a:t>
            </a:r>
            <a:r>
              <a:rPr sz="700" dirty="0" err="1">
                <a:effectLst/>
                <a:latin typeface="Roboto"/>
                <a:cs typeface="Roboto"/>
              </a:rPr>
              <a:t>obiect</a:t>
            </a:r>
            <a:r>
              <a:rPr sz="700" dirty="0">
                <a:effectLst/>
                <a:latin typeface="Roboto"/>
                <a:cs typeface="Roboto"/>
              </a:rPr>
              <a:t> dur (</a:t>
            </a:r>
            <a:r>
              <a:rPr sz="700" dirty="0" err="1">
                <a:effectLst/>
                <a:latin typeface="Roboto"/>
                <a:cs typeface="Roboto"/>
              </a:rPr>
              <a:t>sau</a:t>
            </a:r>
            <a:r>
              <a:rPr sz="700" dirty="0">
                <a:effectLst/>
                <a:latin typeface="Roboto"/>
                <a:cs typeface="Roboto"/>
              </a:rPr>
              <a:t> </a:t>
            </a:r>
            <a:r>
              <a:rPr sz="700" dirty="0" err="1">
                <a:effectLst/>
                <a:latin typeface="Roboto"/>
                <a:cs typeface="Roboto"/>
              </a:rPr>
              <a:t>mai</a:t>
            </a:r>
            <a:r>
              <a:rPr sz="700" dirty="0">
                <a:effectLst/>
                <a:latin typeface="Roboto"/>
                <a:cs typeface="Roboto"/>
              </a:rPr>
              <a:t> </a:t>
            </a:r>
            <a:r>
              <a:rPr sz="700" dirty="0" err="1">
                <a:effectLst/>
                <a:latin typeface="Roboto"/>
                <a:cs typeface="Roboto"/>
              </a:rPr>
              <a:t>moale</a:t>
            </a:r>
            <a:r>
              <a:rPr sz="700" dirty="0">
                <a:effectLst/>
                <a:latin typeface="Roboto"/>
                <a:cs typeface="Roboto"/>
              </a:rPr>
              <a:t> </a:t>
            </a:r>
            <a:r>
              <a:rPr sz="700" dirty="0" err="1">
                <a:effectLst/>
                <a:latin typeface="Roboto"/>
                <a:cs typeface="Roboto"/>
              </a:rPr>
              <a:t>și</a:t>
            </a:r>
            <a:r>
              <a:rPr sz="700" dirty="0">
                <a:effectLst/>
                <a:latin typeface="Roboto"/>
                <a:cs typeface="Roboto"/>
              </a:rPr>
              <a:t> </a:t>
            </a:r>
            <a:r>
              <a:rPr sz="700" dirty="0" err="1">
                <a:effectLst/>
                <a:latin typeface="Roboto"/>
                <a:cs typeface="Roboto"/>
              </a:rPr>
              <a:t>mai</a:t>
            </a:r>
            <a:r>
              <a:rPr sz="700" dirty="0">
                <a:effectLst/>
                <a:latin typeface="Roboto"/>
                <a:cs typeface="Roboto"/>
              </a:rPr>
              <a:t> </a:t>
            </a:r>
            <a:r>
              <a:rPr sz="700" dirty="0" err="1">
                <a:effectLst/>
                <a:latin typeface="Roboto"/>
                <a:cs typeface="Roboto"/>
              </a:rPr>
              <a:t>delicat</a:t>
            </a:r>
            <a:r>
              <a:rPr sz="700" dirty="0">
                <a:effectLst/>
                <a:latin typeface="Roboto"/>
                <a:cs typeface="Roboto"/>
              </a:rPr>
              <a:t>). </a:t>
            </a:r>
            <a:r>
              <a:rPr sz="700" dirty="0" err="1">
                <a:effectLst/>
                <a:latin typeface="Roboto"/>
                <a:cs typeface="Roboto"/>
              </a:rPr>
              <a:t>Începeți</a:t>
            </a:r>
            <a:r>
              <a:rPr sz="700" dirty="0">
                <a:effectLst/>
                <a:latin typeface="Roboto"/>
                <a:cs typeface="Roboto"/>
              </a:rPr>
              <a:t> </a:t>
            </a:r>
            <a:r>
              <a:rPr sz="700" dirty="0" err="1">
                <a:effectLst/>
                <a:latin typeface="Roboto"/>
                <a:cs typeface="Roboto"/>
              </a:rPr>
              <a:t>acum</a:t>
            </a:r>
            <a:r>
              <a:rPr sz="700" dirty="0">
                <a:effectLst/>
                <a:latin typeface="Roboto"/>
                <a:cs typeface="Roboto"/>
              </a:rPr>
              <a:t>!</a:t>
            </a:r>
            <a:endParaRPr lang="en-US" sz="700" dirty="0"/>
          </a:p>
        </p:txBody>
      </p:sp>
      <p:pic>
        <p:nvPicPr>
          <p:cNvPr id="11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F7E966A9-5211-B190-F1AF-E472FC32B6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949" y="1362343"/>
            <a:ext cx="2639033" cy="4691615"/>
          </a:xfrm>
          <a:prstGeom prst="rect">
            <a:avLst/>
          </a:prstGeom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67086BFB-A0A3-A750-03B8-2810D1EA8FFB}"/>
              </a:ext>
            </a:extLst>
          </p:cNvPr>
          <p:cNvSpPr txBox="1"/>
          <p:nvPr/>
        </p:nvSpPr>
        <p:spPr>
          <a:xfrm>
            <a:off x="4583606" y="2481108"/>
            <a:ext cx="1727187" cy="7344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</a:pPr>
            <a:r>
              <a:rPr sz="700">
                <a:effectLst/>
                <a:latin typeface="Roboto"/>
                <a:cs typeface="Roboto"/>
              </a:rPr>
              <a:t>🤬😬🥵Greu, persistent, provocator? Exact așa! Încercați noua noastră gamă  MC1C-MC2C de aparate de curățare cu înaltă presiune cu apă rece. Duza unică </a:t>
            </a:r>
            <a:r>
              <a:rPr sz="700">
                <a:latin typeface="Roboto"/>
                <a:cs typeface="Roboto"/>
              </a:rPr>
              <a:t>4 în 1</a:t>
            </a:r>
            <a:r>
              <a:rPr sz="700">
                <a:effectLst/>
                <a:latin typeface="Roboto"/>
                <a:cs typeface="Roboto"/>
              </a:rPr>
              <a:t> este întotdeauna </a:t>
            </a:r>
            <a:r>
              <a:rPr sz="700">
                <a:latin typeface="Roboto"/>
                <a:cs typeface="Roboto"/>
              </a:rPr>
              <a:t>la îndemână pentru curățarea </a:t>
            </a:r>
            <a:r>
              <a:rPr sz="700">
                <a:effectLst/>
                <a:latin typeface="Roboto"/>
                <a:cs typeface="Roboto"/>
              </a:rPr>
              <a:t>și testarea oricărui obiect dur (sau mai moale și mai delicat). Începeți acum!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F1E5BD08-B4A6-7940-99A6-F88263D8A341}"/>
              </a:ext>
            </a:extLst>
          </p:cNvPr>
          <p:cNvSpPr txBox="1"/>
          <p:nvPr/>
        </p:nvSpPr>
        <p:spPr>
          <a:xfrm>
            <a:off x="4583606" y="3234172"/>
            <a:ext cx="183775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sz="700" b="1">
                <a:solidFill>
                  <a:schemeClr val="accent3"/>
                </a:solidFill>
                <a:latin typeface="Arial"/>
                <a:cs typeface="Arial"/>
              </a:rPr>
              <a:t>Aflați mai mult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B8FA1EC-13E5-FFBF-C5F0-273D1757F011}"/>
              </a:ext>
            </a:extLst>
          </p:cNvPr>
          <p:cNvSpPr txBox="1"/>
          <p:nvPr/>
        </p:nvSpPr>
        <p:spPr>
          <a:xfrm>
            <a:off x="560483" y="1277134"/>
            <a:ext cx="609683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sz="700" b="1">
                <a:hlinkClick r:id="rId5"/>
              </a:rPr>
              <a:t>Legătură către text</a:t>
            </a:r>
            <a:endParaRPr lang="en-DK" sz="700" b="1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8392FDD-D116-53FE-62AC-D8DEEAA806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1378" y="1295460"/>
            <a:ext cx="153888" cy="153888"/>
          </a:xfrm>
          <a:prstGeom prst="rect">
            <a:avLst/>
          </a:prstGeom>
        </p:spPr>
      </p:pic>
      <p:pic>
        <p:nvPicPr>
          <p:cNvPr id="6" name="Ro Media5">
            <a:hlinkClick r:id="" action="ppaction://media"/>
            <a:extLst>
              <a:ext uri="{FF2B5EF4-FFF2-40B4-BE49-F238E27FC236}">
                <a16:creationId xmlns:a16="http://schemas.microsoft.com/office/drawing/2014/main" id="{BEEC617E-89AB-E3A7-D6AE-62F87ABAF39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4535291" y="3453904"/>
            <a:ext cx="1934347" cy="1934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9805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754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36041155-4225-9003-6DBB-EEEEC812592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t>INFORMAȚII CONFIDENȚIALE ALE COMPANIEI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91EA273C-1A90-AE2E-3529-12C521E3D1D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94066FE-D8E7-FC5F-71C1-DE64562370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sz="800"/>
              <a:t>Dimensiune: 1200x1200</a:t>
            </a:r>
            <a:endParaRPr lang="en-DK" sz="80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47DD55E-4301-0465-1739-BEAC8126C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SoMe #6</a:t>
            </a:r>
            <a:endParaRPr lang="en-DK"/>
          </a:p>
        </p:txBody>
      </p:sp>
      <p:pic>
        <p:nvPicPr>
          <p:cNvPr id="6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1BAE65BD-0D17-0080-AB05-D62CCD6709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949" y="1362343"/>
            <a:ext cx="2639033" cy="4691615"/>
          </a:xfrm>
          <a:prstGeom prst="rect">
            <a:avLst/>
          </a:prstGeom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67086BFB-A0A3-A750-03B8-2810D1EA8FFB}"/>
              </a:ext>
            </a:extLst>
          </p:cNvPr>
          <p:cNvSpPr txBox="1"/>
          <p:nvPr/>
        </p:nvSpPr>
        <p:spPr>
          <a:xfrm>
            <a:off x="4638871" y="2481108"/>
            <a:ext cx="1727187" cy="73597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</a:pPr>
            <a:r>
              <a:rPr sz="600">
                <a:effectLst/>
                <a:latin typeface="Roboto"/>
                <a:cs typeface="Roboto"/>
              </a:rPr>
              <a:t>🔫💦🔫Sunteți gata pentru distracție bună și curățenie? Să ne luptăm cu noroiul, nisipul, murdăria și chiar murdăria extrem de persistentă într-o luptă cu apă! Bucurați-vă de o victorie ușoară cu noua noastră gamă puternică de aparate de curățare cu presiune înaltă cu apă rece  MC1C-MC2C și distrați-vă la orice lucrare de curățare.</a:t>
            </a:r>
            <a:r>
              <a:rPr sz="600">
                <a:latin typeface="Roboto"/>
                <a:cs typeface="Roboto"/>
              </a:rPr>
              <a:t> Designul ușor și compact face ca aceste aparate să fie ușor de transportat oriunde doriți.</a:t>
            </a:r>
            <a:endParaRPr lang="en-DK" sz="600" kern="100">
              <a:effectLst/>
              <a:latin typeface="Roboto"/>
              <a:ea typeface="Roboto"/>
              <a:cs typeface="Roboto"/>
            </a:endParaRP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F1E5BD08-B4A6-7940-99A6-F88263D8A341}"/>
              </a:ext>
            </a:extLst>
          </p:cNvPr>
          <p:cNvSpPr txBox="1"/>
          <p:nvPr/>
        </p:nvSpPr>
        <p:spPr>
          <a:xfrm>
            <a:off x="4638871" y="3234172"/>
            <a:ext cx="183775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sz="700" b="1">
                <a:solidFill>
                  <a:schemeClr val="accent3"/>
                </a:solidFill>
                <a:latin typeface="Arial"/>
                <a:cs typeface="Arial"/>
              </a:rPr>
              <a:t>Aflați mai mult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FC6252E6-3207-37B8-5D99-B272258C35F0}"/>
              </a:ext>
            </a:extLst>
          </p:cNvPr>
          <p:cNvSpPr txBox="1">
            <a:spLocks/>
          </p:cNvSpPr>
          <p:nvPr/>
        </p:nvSpPr>
        <p:spPr>
          <a:xfrm>
            <a:off x="7298635" y="2783164"/>
            <a:ext cx="3077817" cy="1815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5000"/>
              </a:lnSpc>
              <a:spcAft>
                <a:spcPts val="800"/>
              </a:spcAft>
            </a:pPr>
            <a:r>
              <a:rPr sz="1000" dirty="0">
                <a:effectLst/>
                <a:latin typeface="Roboto"/>
                <a:cs typeface="Roboto"/>
              </a:rPr>
              <a:t>🔫💦🔫</a:t>
            </a:r>
            <a:r>
              <a:rPr sz="1000" dirty="0" err="1">
                <a:effectLst/>
                <a:latin typeface="Roboto"/>
                <a:cs typeface="Roboto"/>
              </a:rPr>
              <a:t>Sunteți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gata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pentru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distracție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bună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și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curățenie</a:t>
            </a:r>
            <a:r>
              <a:rPr sz="1000" dirty="0">
                <a:effectLst/>
                <a:latin typeface="Roboto"/>
                <a:cs typeface="Roboto"/>
              </a:rPr>
              <a:t>? </a:t>
            </a:r>
            <a:r>
              <a:rPr sz="1000" dirty="0" err="1">
                <a:effectLst/>
                <a:latin typeface="Roboto"/>
                <a:cs typeface="Roboto"/>
              </a:rPr>
              <a:t>Să</a:t>
            </a:r>
            <a:r>
              <a:rPr sz="1000" dirty="0">
                <a:effectLst/>
                <a:latin typeface="Roboto"/>
                <a:cs typeface="Roboto"/>
              </a:rPr>
              <a:t> ne </a:t>
            </a:r>
            <a:r>
              <a:rPr sz="1000" dirty="0" err="1">
                <a:effectLst/>
                <a:latin typeface="Roboto"/>
                <a:cs typeface="Roboto"/>
              </a:rPr>
              <a:t>luptăm</a:t>
            </a:r>
            <a:r>
              <a:rPr sz="1000" dirty="0">
                <a:effectLst/>
                <a:latin typeface="Roboto"/>
                <a:cs typeface="Roboto"/>
              </a:rPr>
              <a:t> cu </a:t>
            </a:r>
            <a:r>
              <a:rPr sz="1000" dirty="0" err="1">
                <a:effectLst/>
                <a:latin typeface="Roboto"/>
                <a:cs typeface="Roboto"/>
              </a:rPr>
              <a:t>noroiul</a:t>
            </a:r>
            <a:r>
              <a:rPr sz="1000" dirty="0">
                <a:effectLst/>
                <a:latin typeface="Roboto"/>
                <a:cs typeface="Roboto"/>
              </a:rPr>
              <a:t>, </a:t>
            </a:r>
            <a:r>
              <a:rPr sz="1000" dirty="0" err="1">
                <a:effectLst/>
                <a:latin typeface="Roboto"/>
                <a:cs typeface="Roboto"/>
              </a:rPr>
              <a:t>nisipul</a:t>
            </a:r>
            <a:r>
              <a:rPr sz="1000" dirty="0">
                <a:effectLst/>
                <a:latin typeface="Roboto"/>
                <a:cs typeface="Roboto"/>
              </a:rPr>
              <a:t>, </a:t>
            </a:r>
            <a:r>
              <a:rPr sz="1000" dirty="0" err="1">
                <a:effectLst/>
                <a:latin typeface="Roboto"/>
                <a:cs typeface="Roboto"/>
              </a:rPr>
              <a:t>murdăria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și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chiar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murdăria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extrem</a:t>
            </a:r>
            <a:r>
              <a:rPr sz="1000" dirty="0">
                <a:effectLst/>
                <a:latin typeface="Roboto"/>
                <a:cs typeface="Roboto"/>
              </a:rPr>
              <a:t> de </a:t>
            </a:r>
            <a:r>
              <a:rPr sz="1000" dirty="0" err="1">
                <a:effectLst/>
                <a:latin typeface="Roboto"/>
                <a:cs typeface="Roboto"/>
              </a:rPr>
              <a:t>persistentă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într</a:t>
            </a:r>
            <a:r>
              <a:rPr sz="1000" dirty="0">
                <a:effectLst/>
                <a:latin typeface="Roboto"/>
                <a:cs typeface="Roboto"/>
              </a:rPr>
              <a:t>-o </a:t>
            </a:r>
            <a:r>
              <a:rPr sz="1000" dirty="0" err="1">
                <a:effectLst/>
                <a:latin typeface="Roboto"/>
                <a:cs typeface="Roboto"/>
              </a:rPr>
              <a:t>luptă</a:t>
            </a:r>
            <a:r>
              <a:rPr sz="1000" dirty="0">
                <a:effectLst/>
                <a:latin typeface="Roboto"/>
                <a:cs typeface="Roboto"/>
              </a:rPr>
              <a:t> cu </a:t>
            </a:r>
            <a:r>
              <a:rPr sz="1000" dirty="0" err="1">
                <a:effectLst/>
                <a:latin typeface="Roboto"/>
                <a:cs typeface="Roboto"/>
              </a:rPr>
              <a:t>apă</a:t>
            </a:r>
            <a:r>
              <a:rPr sz="1000" dirty="0">
                <a:effectLst/>
                <a:latin typeface="Roboto"/>
                <a:cs typeface="Roboto"/>
              </a:rPr>
              <a:t>! </a:t>
            </a:r>
            <a:r>
              <a:rPr sz="1000" dirty="0" err="1">
                <a:effectLst/>
                <a:latin typeface="Roboto"/>
                <a:cs typeface="Roboto"/>
              </a:rPr>
              <a:t>Bucurați-vă</a:t>
            </a:r>
            <a:r>
              <a:rPr sz="1000" dirty="0">
                <a:effectLst/>
                <a:latin typeface="Roboto"/>
                <a:cs typeface="Roboto"/>
              </a:rPr>
              <a:t> de o </a:t>
            </a:r>
            <a:r>
              <a:rPr sz="1000" dirty="0" err="1">
                <a:effectLst/>
                <a:latin typeface="Roboto"/>
                <a:cs typeface="Roboto"/>
              </a:rPr>
              <a:t>victorie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ușoară</a:t>
            </a:r>
            <a:r>
              <a:rPr sz="1000" dirty="0">
                <a:effectLst/>
                <a:latin typeface="Roboto"/>
                <a:cs typeface="Roboto"/>
              </a:rPr>
              <a:t> cu </a:t>
            </a:r>
            <a:r>
              <a:rPr sz="1000" dirty="0" err="1">
                <a:effectLst/>
                <a:latin typeface="Roboto"/>
                <a:cs typeface="Roboto"/>
              </a:rPr>
              <a:t>noua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noastră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gamă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puternică</a:t>
            </a:r>
            <a:r>
              <a:rPr sz="1000" dirty="0">
                <a:effectLst/>
                <a:latin typeface="Roboto"/>
                <a:cs typeface="Roboto"/>
              </a:rPr>
              <a:t> de </a:t>
            </a:r>
            <a:r>
              <a:rPr sz="1000" dirty="0" err="1">
                <a:effectLst/>
                <a:latin typeface="Roboto"/>
                <a:cs typeface="Roboto"/>
              </a:rPr>
              <a:t>aparate</a:t>
            </a:r>
            <a:r>
              <a:rPr sz="1000" dirty="0">
                <a:effectLst/>
                <a:latin typeface="Roboto"/>
                <a:cs typeface="Roboto"/>
              </a:rPr>
              <a:t> de </a:t>
            </a:r>
            <a:r>
              <a:rPr sz="1000" dirty="0" err="1">
                <a:effectLst/>
                <a:latin typeface="Roboto"/>
                <a:cs typeface="Roboto"/>
              </a:rPr>
              <a:t>curățare</a:t>
            </a:r>
            <a:r>
              <a:rPr sz="1000" dirty="0">
                <a:effectLst/>
                <a:latin typeface="Roboto"/>
                <a:cs typeface="Roboto"/>
              </a:rPr>
              <a:t> cu </a:t>
            </a:r>
            <a:r>
              <a:rPr sz="1000" dirty="0" err="1">
                <a:effectLst/>
                <a:latin typeface="Roboto"/>
                <a:cs typeface="Roboto"/>
              </a:rPr>
              <a:t>presiune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înaltă</a:t>
            </a:r>
            <a:r>
              <a:rPr sz="1000" dirty="0">
                <a:effectLst/>
                <a:latin typeface="Roboto"/>
                <a:cs typeface="Roboto"/>
              </a:rPr>
              <a:t> cu </a:t>
            </a:r>
            <a:r>
              <a:rPr sz="1000" dirty="0" err="1">
                <a:effectLst/>
                <a:latin typeface="Roboto"/>
                <a:cs typeface="Roboto"/>
              </a:rPr>
              <a:t>apă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rece</a:t>
            </a:r>
            <a:r>
              <a:rPr sz="1000" dirty="0">
                <a:effectLst/>
                <a:latin typeface="Roboto"/>
                <a:cs typeface="Roboto"/>
              </a:rPr>
              <a:t>  MC1C-MC2C </a:t>
            </a:r>
            <a:r>
              <a:rPr sz="1000" dirty="0" err="1">
                <a:effectLst/>
                <a:latin typeface="Roboto"/>
                <a:cs typeface="Roboto"/>
              </a:rPr>
              <a:t>și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distrați-vă</a:t>
            </a:r>
            <a:r>
              <a:rPr sz="1000" dirty="0">
                <a:effectLst/>
                <a:latin typeface="Roboto"/>
                <a:cs typeface="Roboto"/>
              </a:rPr>
              <a:t> la </a:t>
            </a:r>
            <a:r>
              <a:rPr sz="1000" dirty="0" err="1">
                <a:effectLst/>
                <a:latin typeface="Roboto"/>
                <a:cs typeface="Roboto"/>
              </a:rPr>
              <a:t>orice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lucrare</a:t>
            </a:r>
            <a:r>
              <a:rPr sz="1000" dirty="0">
                <a:effectLst/>
                <a:latin typeface="Roboto"/>
                <a:cs typeface="Roboto"/>
              </a:rPr>
              <a:t> de </a:t>
            </a:r>
            <a:r>
              <a:rPr sz="1000" dirty="0" err="1">
                <a:effectLst/>
                <a:latin typeface="Roboto"/>
                <a:cs typeface="Roboto"/>
              </a:rPr>
              <a:t>curățare</a:t>
            </a:r>
            <a:r>
              <a:rPr sz="1000" dirty="0">
                <a:effectLst/>
                <a:latin typeface="Roboto"/>
                <a:cs typeface="Roboto"/>
              </a:rPr>
              <a:t>.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Designul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ușor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și</a:t>
            </a:r>
            <a:r>
              <a:rPr sz="1000" dirty="0">
                <a:latin typeface="Roboto"/>
                <a:cs typeface="Roboto"/>
              </a:rPr>
              <a:t> compact face ca </a:t>
            </a:r>
            <a:r>
              <a:rPr sz="1000" dirty="0" err="1">
                <a:latin typeface="Roboto"/>
                <a:cs typeface="Roboto"/>
              </a:rPr>
              <a:t>aceste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aparate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să</a:t>
            </a:r>
            <a:r>
              <a:rPr sz="1000" dirty="0">
                <a:latin typeface="Roboto"/>
                <a:cs typeface="Roboto"/>
              </a:rPr>
              <a:t> fie </a:t>
            </a:r>
            <a:r>
              <a:rPr sz="1000" dirty="0" err="1">
                <a:latin typeface="Roboto"/>
                <a:cs typeface="Roboto"/>
              </a:rPr>
              <a:t>ușor</a:t>
            </a:r>
            <a:r>
              <a:rPr sz="1000" dirty="0">
                <a:latin typeface="Roboto"/>
                <a:cs typeface="Roboto"/>
              </a:rPr>
              <a:t> de </a:t>
            </a:r>
            <a:r>
              <a:rPr sz="1000" dirty="0" err="1">
                <a:latin typeface="Roboto"/>
                <a:cs typeface="Roboto"/>
              </a:rPr>
              <a:t>transportat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oriunde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doriți</a:t>
            </a:r>
            <a:r>
              <a:rPr sz="1000" dirty="0">
                <a:latin typeface="Roboto"/>
                <a:cs typeface="Roboto"/>
              </a:rPr>
              <a:t>.</a:t>
            </a:r>
            <a:endParaRPr lang="en-DK" sz="1000" kern="100" dirty="0">
              <a:effectLst/>
              <a:latin typeface="Roboto"/>
              <a:ea typeface="Roboto"/>
              <a:cs typeface="Roboto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2E4FBD7-D730-BB08-C03A-172CF2254838}"/>
              </a:ext>
            </a:extLst>
          </p:cNvPr>
          <p:cNvSpPr txBox="1"/>
          <p:nvPr/>
        </p:nvSpPr>
        <p:spPr>
          <a:xfrm>
            <a:off x="560483" y="1277134"/>
            <a:ext cx="609683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sz="700" b="1">
                <a:hlinkClick r:id="rId5"/>
              </a:rPr>
              <a:t>Legătură către text</a:t>
            </a:r>
            <a:endParaRPr lang="en-DK" sz="700" b="1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C633093-63DC-FAB9-E694-2716E079E9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1378" y="1295460"/>
            <a:ext cx="153888" cy="153888"/>
          </a:xfrm>
          <a:prstGeom prst="rect">
            <a:avLst/>
          </a:prstGeom>
        </p:spPr>
      </p:pic>
      <p:pic>
        <p:nvPicPr>
          <p:cNvPr id="10" name="Ro Media6">
            <a:hlinkClick r:id="" action="ppaction://media"/>
            <a:extLst>
              <a:ext uri="{FF2B5EF4-FFF2-40B4-BE49-F238E27FC236}">
                <a16:creationId xmlns:a16="http://schemas.microsoft.com/office/drawing/2014/main" id="{66F8E56A-7FC7-162A-E2C3-EC259100D96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4543548" y="3453904"/>
            <a:ext cx="1933073" cy="1933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5959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4754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Nilfisk PTT template.potx" id="{7A9557A8-529B-4922-91C4-068E642D7779}" vid="{E2B5E536-F595-459F-B95D-68E3CE5DC3A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b6773b7-0c30-4c12-b4ef-4bc8e04c12b3">
      <Terms xmlns="http://schemas.microsoft.com/office/infopath/2007/PartnerControls"/>
    </lcf76f155ced4ddcb4097134ff3c332f>
    <TaxCatchAll xmlns="a4909bf0-6c06-4e98-bd7a-063ffc934d7f" xsi:nil="true"/>
    <SharedWithUsers xmlns="a4909bf0-6c06-4e98-bd7a-063ffc934d7f">
      <UserInfo>
        <DisplayName>Andreas Hagbarth</DisplayName>
        <AccountId>46</AccountId>
        <AccountType/>
      </UserInfo>
      <UserInfo>
        <DisplayName>Line Skovbjerg</DisplayName>
        <AccountId>269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38C1CE8BDFF6C4C8381F5D709CBA85C" ma:contentTypeVersion="17" ma:contentTypeDescription="Opret et nyt dokument." ma:contentTypeScope="" ma:versionID="35b3f029efceabfb69223e9482ade35c">
  <xsd:schema xmlns:xsd="http://www.w3.org/2001/XMLSchema" xmlns:xs="http://www.w3.org/2001/XMLSchema" xmlns:p="http://schemas.microsoft.com/office/2006/metadata/properties" xmlns:ns2="ab6773b7-0c30-4c12-b4ef-4bc8e04c12b3" xmlns:ns3="a4909bf0-6c06-4e98-bd7a-063ffc934d7f" targetNamespace="http://schemas.microsoft.com/office/2006/metadata/properties" ma:root="true" ma:fieldsID="eb1fbc0edb9b241197136ace30bfba89" ns2:_="" ns3:_="">
    <xsd:import namespace="ab6773b7-0c30-4c12-b4ef-4bc8e04c12b3"/>
    <xsd:import namespace="a4909bf0-6c06-4e98-bd7a-063ffc934d7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6773b7-0c30-4c12-b4ef-4bc8e04c12b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ledmærker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909bf0-6c06-4e98-bd7a-063ffc934d7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15e2cd39-7994-4517-b4d5-e6ff266f69be}" ma:internalName="TaxCatchAll" ma:showField="CatchAllData" ma:web="a4909bf0-6c06-4e98-bd7a-063ffc934d7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035D97F-54F6-4139-90B1-4BC360E16E53}">
  <ds:schemaRefs>
    <ds:schemaRef ds:uri="a4909bf0-6c06-4e98-bd7a-063ffc934d7f"/>
    <ds:schemaRef ds:uri="ab6773b7-0c30-4c12-b4ef-4bc8e04c12b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3176301-5BC6-48C0-94FA-6CC83BDEBE7C}">
  <ds:schemaRefs>
    <ds:schemaRef ds:uri="a4909bf0-6c06-4e98-bd7a-063ffc934d7f"/>
    <ds:schemaRef ds:uri="ab6773b7-0c30-4c12-b4ef-4bc8e04c12b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4</TotalTime>
  <Words>899</Words>
  <Application>Microsoft Office PowerPoint</Application>
  <PresentationFormat>Widescreen</PresentationFormat>
  <Paragraphs>52</Paragraphs>
  <Slides>7</Slides>
  <Notes>0</Notes>
  <HiddenSlides>0</HiddenSlides>
  <MMClips>6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Arial</vt:lpstr>
      <vt:lpstr>Calibri</vt:lpstr>
      <vt:lpstr>Courier New</vt:lpstr>
      <vt:lpstr>Roboto</vt:lpstr>
      <vt:lpstr>Roboto Black</vt:lpstr>
      <vt:lpstr>Roboto Bold</vt:lpstr>
      <vt:lpstr>Roboto Light</vt:lpstr>
      <vt:lpstr>Segoe UI Emoji</vt:lpstr>
      <vt:lpstr>Nilfisk Toolbox_Standard_4-3</vt:lpstr>
      <vt:lpstr>think-cell Slide</vt:lpstr>
      <vt:lpstr>Social media</vt:lpstr>
      <vt:lpstr>SoMe #1</vt:lpstr>
      <vt:lpstr>SoMe #2</vt:lpstr>
      <vt:lpstr>SoMe #3</vt:lpstr>
      <vt:lpstr>SoMe #4</vt:lpstr>
      <vt:lpstr>SoMe #5</vt:lpstr>
      <vt:lpstr>SoMe #6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ia Daugaard Jelle</dc:creator>
  <cp:lastModifiedBy>Anh Nguyen</cp:lastModifiedBy>
  <cp:revision>13</cp:revision>
  <dcterms:created xsi:type="dcterms:W3CDTF">2022-03-02T09:32:59Z</dcterms:created>
  <dcterms:modified xsi:type="dcterms:W3CDTF">2024-10-25T11:07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ContentTypeId">
    <vt:lpwstr>0x010100838C1CE8BDFF6C4C8381F5D709CBA85C</vt:lpwstr>
  </property>
  <property fmtid="{D5CDD505-2E9C-101B-9397-08002B2CF9AE}" pid="6" name="MSIP_Label_8af657d4-2045-4871-9872-e323e3545d60_Enabled">
    <vt:lpwstr>true</vt:lpwstr>
  </property>
  <property fmtid="{D5CDD505-2E9C-101B-9397-08002B2CF9AE}" pid="7" name="MSIP_Label_8af657d4-2045-4871-9872-e323e3545d60_SetDate">
    <vt:lpwstr>2022-03-07T09:52:37Z</vt:lpwstr>
  </property>
  <property fmtid="{D5CDD505-2E9C-101B-9397-08002B2CF9AE}" pid="8" name="MSIP_Label_8af657d4-2045-4871-9872-e323e3545d60_Method">
    <vt:lpwstr>Privileged</vt:lpwstr>
  </property>
  <property fmtid="{D5CDD505-2E9C-101B-9397-08002B2CF9AE}" pid="9" name="MSIP_Label_8af657d4-2045-4871-9872-e323e3545d60_Name">
    <vt:lpwstr>Open sublabel</vt:lpwstr>
  </property>
  <property fmtid="{D5CDD505-2E9C-101B-9397-08002B2CF9AE}" pid="10" name="MSIP_Label_8af657d4-2045-4871-9872-e323e3545d60_SiteId">
    <vt:lpwstr>753c5d99-05be-4237-b4c5-fdb2e6b32ab2</vt:lpwstr>
  </property>
  <property fmtid="{D5CDD505-2E9C-101B-9397-08002B2CF9AE}" pid="11" name="MSIP_Label_8af657d4-2045-4871-9872-e323e3545d60_ActionId">
    <vt:lpwstr>dc55aacb-2282-478e-992e-416176343d0e</vt:lpwstr>
  </property>
  <property fmtid="{D5CDD505-2E9C-101B-9397-08002B2CF9AE}" pid="12" name="MSIP_Label_8af657d4-2045-4871-9872-e323e3545d60_ContentBits">
    <vt:lpwstr>0</vt:lpwstr>
  </property>
  <property fmtid="{D5CDD505-2E9C-101B-9397-08002B2CF9AE}" pid="13" name="MediaServiceImageTags">
    <vt:lpwstr/>
  </property>
</Properties>
</file>